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tags/tag33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33"/>
  </p:notesMasterIdLst>
  <p:handoutMasterIdLst>
    <p:handoutMasterId r:id="rId34"/>
  </p:handoutMasterIdLst>
  <p:sldIdLst>
    <p:sldId id="279" r:id="rId6"/>
    <p:sldId id="301" r:id="rId7"/>
    <p:sldId id="284" r:id="rId8"/>
    <p:sldId id="294" r:id="rId9"/>
    <p:sldId id="435" r:id="rId10"/>
    <p:sldId id="444" r:id="rId11"/>
    <p:sldId id="465" r:id="rId12"/>
    <p:sldId id="445" r:id="rId13"/>
    <p:sldId id="446" r:id="rId14"/>
    <p:sldId id="448" r:id="rId15"/>
    <p:sldId id="466" r:id="rId16"/>
    <p:sldId id="464" r:id="rId17"/>
    <p:sldId id="467" r:id="rId18"/>
    <p:sldId id="300" r:id="rId19"/>
    <p:sldId id="454" r:id="rId20"/>
    <p:sldId id="319" r:id="rId21"/>
    <p:sldId id="358" r:id="rId22"/>
    <p:sldId id="470" r:id="rId23"/>
    <p:sldId id="442" r:id="rId24"/>
    <p:sldId id="447" r:id="rId25"/>
    <p:sldId id="449" r:id="rId26"/>
    <p:sldId id="463" r:id="rId27"/>
    <p:sldId id="461" r:id="rId28"/>
    <p:sldId id="459" r:id="rId29"/>
    <p:sldId id="468" r:id="rId30"/>
    <p:sldId id="469" r:id="rId31"/>
    <p:sldId id="260" r:id="rId32"/>
  </p:sldIdLst>
  <p:sldSz cx="9144000" cy="5143500" type="screen16x9"/>
  <p:notesSz cx="7099300" cy="10234613"/>
  <p:custDataLst>
    <p:tags r:id="rId3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6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3DB"/>
    <a:srgbClr val="7030A0"/>
    <a:srgbClr val="00A76C"/>
    <a:srgbClr val="FEC358"/>
    <a:srgbClr val="FDA501"/>
    <a:srgbClr val="00EA96"/>
    <a:srgbClr val="ADFF2E"/>
    <a:srgbClr val="00008B"/>
    <a:srgbClr val="FFFFFF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590" autoAdjust="0"/>
    <p:restoredTop sz="95289" autoAdjust="0"/>
  </p:normalViewPr>
  <p:slideViewPr>
    <p:cSldViewPr snapToGrid="0">
      <p:cViewPr varScale="1">
        <p:scale>
          <a:sx n="210" d="100"/>
          <a:sy n="210" d="100"/>
        </p:scale>
        <p:origin x="1080" y="116"/>
      </p:cViewPr>
      <p:guideLst>
        <p:guide orient="horz" pos="240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456" y="-10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09E9D4C-6C26-43EB-81B0-567B2E753FCE}" type="datetimeFigureOut">
              <a:rPr lang="fr-FR"/>
              <a:pPr>
                <a:defRPr/>
              </a:pPr>
              <a:t>17/0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EDFBA51-F067-40EE-B0EA-1FAC7E7E57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92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2C37AD7-E821-4203-A47D-4547AE25608C}" type="datetimeFigureOut">
              <a:rPr lang="en-GB" smtClean="0"/>
              <a:pPr>
                <a:defRPr/>
              </a:pPr>
              <a:t>17/02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GB" noProof="0"/>
              <a:t>Modifiez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75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74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9197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02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362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189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22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6017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8645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0057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8777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949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0857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7959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8848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9900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4601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8615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9798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008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52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122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433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308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550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964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963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 - Visuel au cho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8441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anchor="ctr"/>
          <a:lstStyle/>
          <a:p>
            <a:pPr algn="ctr" rtl="0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3819524"/>
          </a:xfrm>
          <a:solidFill>
            <a:schemeClr val="bg2"/>
          </a:solidFill>
        </p:spPr>
        <p:txBody>
          <a:bodyPr rtlCol="0" anchor="ctr">
            <a:normAutofit/>
          </a:bodyPr>
          <a:lstStyle>
            <a:lvl1pPr algn="ctr"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on the icon to add an imag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98672" y="3576637"/>
            <a:ext cx="3492500" cy="452437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26719" y="3643627"/>
            <a:ext cx="3236406" cy="161999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the author</a:t>
            </a:r>
          </a:p>
        </p:txBody>
      </p:sp>
      <p:sp>
        <p:nvSpPr>
          <p:cNvPr id="21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26719" y="3811266"/>
            <a:ext cx="3236406" cy="162000"/>
          </a:xfr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3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1713"/>
            <a:ext cx="5328592" cy="86399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239917"/>
            <a:ext cx="5328592" cy="43199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0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3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72701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096567"/>
            <a:ext cx="8460000" cy="3053952"/>
          </a:xfrm>
        </p:spPr>
        <p:txBody>
          <a:bodyPr/>
          <a:lstStyle>
            <a:lvl1pPr>
              <a:defRPr/>
            </a:lvl1pPr>
            <a:lvl2pPr marL="300656" indent="-153396">
              <a:defRPr/>
            </a:lvl2pPr>
            <a:lvl3pPr marL="616652" indent="-150328">
              <a:defRPr/>
            </a:lvl3pPr>
            <a:lvl4pPr marL="923444" indent="-144192">
              <a:defRPr/>
            </a:lvl4pPr>
            <a:lvl5pPr marL="2706" indent="4059">
              <a:defRPr/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3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6389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22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0977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rgbClr val="0070C0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100" b="1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4"/>
            <a:ext cx="6183163" cy="2138809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0070C0"/>
                </a:solidFill>
              </a:defRPr>
            </a:lvl1pPr>
          </a:lstStyle>
          <a:p>
            <a:r>
              <a:rPr lang="en-GB" dirty="0"/>
              <a:t>Click to add the divider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6943"/>
            <a:ext cx="9144000" cy="195943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76698" rIns="77925" bIns="7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9534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1"/>
          <p:cNvSpPr txBox="1"/>
          <p:nvPr userDrawn="1"/>
        </p:nvSpPr>
        <p:spPr>
          <a:xfrm>
            <a:off x="2504817" y="2087133"/>
            <a:ext cx="3636000" cy="9692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lIns="144000" tIns="180000" rIns="14400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4000" b="0" i="0" u="none" strike="noStrike" baseline="0" noProof="0" dirty="0">
                <a:solidFill>
                  <a:srgbClr val="FFFFFF"/>
                </a:solidFill>
                <a:latin typeface="+mj-lt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547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9801541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089115" y="4759658"/>
            <a:ext cx="3753504" cy="212527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800" noProof="0" dirty="0">
                <a:solidFill>
                  <a:schemeClr val="tx1">
                    <a:lumMod val="50000"/>
                  </a:schemeClr>
                </a:solidFill>
              </a:rPr>
              <a:t>Implémentation d’un modèle de </a:t>
            </a:r>
            <a:r>
              <a:rPr lang="fr-FR" sz="800" noProof="0" dirty="0" err="1">
                <a:solidFill>
                  <a:schemeClr val="tx1">
                    <a:lumMod val="50000"/>
                  </a:schemeClr>
                </a:solidFill>
              </a:rPr>
              <a:t>scoring</a:t>
            </a:r>
            <a:endParaRPr lang="fr-FR" sz="800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106" y="86917"/>
            <a:ext cx="8459788" cy="55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itle</a:t>
            </a:r>
            <a:endParaRPr lang="en-GB" altLang="fr-FR" noProof="0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39726" y="1096567"/>
            <a:ext cx="8462963" cy="305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900" y="4576763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8621713" y="4790481"/>
            <a:ext cx="18097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2759E965-39A9-4D5D-9843-2E3E05E05AC0}" type="slidenum">
              <a:rPr lang="en-GB" sz="800" b="1" noProof="0" smtClean="0">
                <a:solidFill>
                  <a:schemeClr val="tx1">
                    <a:lumMod val="50000"/>
                  </a:schemeClr>
                </a:solidFill>
              </a:rPr>
              <a:pPr algn="r"/>
              <a:t>‹N°›</a:t>
            </a:fld>
            <a:endParaRPr lang="en-GB" sz="800" b="1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878153" y="4790481"/>
            <a:ext cx="70802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GB" sz="800" noProof="0" dirty="0">
                <a:solidFill>
                  <a:schemeClr val="tx1">
                    <a:lumMod val="50000"/>
                  </a:schemeClr>
                </a:solidFill>
              </a:rPr>
              <a:t>|  21/02/2022  |</a:t>
            </a:r>
          </a:p>
        </p:txBody>
      </p:sp>
      <p:sp>
        <p:nvSpPr>
          <p:cNvPr id="3" name="MSIPCMContentMarking" descr="{&quot;HashCode&quot;:1859994762,&quot;Placement&quot;:&quot;Footer&quot;,&quot;Top&quot;:384.343,&quot;Left&quot;:604.5204,&quot;SlideWidth&quot;:720,&quot;SlideHeight&quot;:405}"/>
          <p:cNvSpPr txBox="1"/>
          <p:nvPr userDrawn="1"/>
        </p:nvSpPr>
        <p:spPr>
          <a:xfrm>
            <a:off x="7677409" y="48811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  <a:endParaRPr lang="fr-FR" sz="10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22" r:id="rId2"/>
    <p:sldLayoutId id="2147483824" r:id="rId3"/>
    <p:sldLayoutId id="2147483817" r:id="rId4"/>
    <p:sldLayoutId id="21474838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 baseline="0">
          <a:solidFill>
            <a:srgbClr val="0070C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0" fontAlgn="base" hangingPunct="0">
        <a:spcBef>
          <a:spcPts val="170"/>
        </a:spcBef>
        <a:spcAft>
          <a:spcPct val="0"/>
        </a:spcAft>
        <a:buClr>
          <a:srgbClr val="D2DCAA"/>
        </a:buClr>
        <a:buSzPct val="100000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01690" indent="-152874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SzPct val="9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615555" indent="-150169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924009" indent="-143404" algn="l" rtl="0" eaLnBrk="0" fontAlgn="base" hangingPunct="0">
        <a:spcBef>
          <a:spcPts val="17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ts val="170"/>
        </a:spcBef>
        <a:spcAft>
          <a:spcPct val="0"/>
        </a:spcAft>
        <a:defRPr sz="900" kern="1200">
          <a:solidFill>
            <a:schemeClr val="bg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share.streamlit.io/madeslaurence/scoring-p7/main/PPAD_05_dashboard.py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github.com/MadesLaurence/Scoring-P7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3-eu-west-1.amazonaws.com/static.oc-static.com/prod/courses/files/Parcours_data_scientist/Projet+-+Impl%C3%A9menter+un+mod%C3%A8le+de+scoring/Projet+Mise+en+prod+-+home-credit-default-risk.zip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Espace réservé pour une image  1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2237" y="-2662240"/>
            <a:ext cx="3819525" cy="9144001"/>
          </a:xfrm>
        </p:spPr>
      </p:pic>
      <p:sp>
        <p:nvSpPr>
          <p:cNvPr id="36" name="Text Placeholder 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fr-FR" dirty="0"/>
              <a:t>Laurence </a:t>
            </a:r>
            <a:r>
              <a:rPr lang="fr-FR" dirty="0" err="1"/>
              <a:t>Mades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fr-FR" sz="1300" dirty="0"/>
              <a:t>Soutenance : 21/02/2022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jet n°7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90202" y="1135429"/>
            <a:ext cx="8753797" cy="431999"/>
          </a:xfrm>
        </p:spPr>
        <p:txBody>
          <a:bodyPr/>
          <a:lstStyle/>
          <a:p>
            <a:r>
              <a:rPr lang="fr-FR" sz="2000" dirty="0" err="1"/>
              <a:t>IMPléMENTation</a:t>
            </a:r>
            <a:r>
              <a:rPr lang="fr-FR" sz="2000" dirty="0"/>
              <a:t> d’UN </a:t>
            </a:r>
            <a:r>
              <a:rPr lang="fr-FR" sz="2000" dirty="0" err="1"/>
              <a:t>MODèLE</a:t>
            </a:r>
            <a:r>
              <a:rPr lang="fr-FR" sz="2000" dirty="0"/>
              <a:t> DE SCORING</a:t>
            </a:r>
          </a:p>
        </p:txBody>
      </p:sp>
    </p:spTree>
    <p:extLst>
      <p:ext uri="{BB962C8B-B14F-4D97-AF65-F5344CB8AC3E}">
        <p14:creationId xmlns:p14="http://schemas.microsoft.com/office/powerpoint/2010/main" val="272551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9A7E469-D1E4-41CA-A6FD-E460B11427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5742" y="1154907"/>
            <a:ext cx="5252516" cy="322464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mparer les différents modèles de classification avec le jeu « LGBM »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val="276406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du contenu 22">
            <a:extLst>
              <a:ext uri="{FF2B5EF4-FFF2-40B4-BE49-F238E27FC236}">
                <a16:creationId xmlns:a16="http://schemas.microsoft.com/office/drawing/2014/main" id="{84F5C77C-85DB-4DB0-8DF8-9B5E1EED48BD}"/>
              </a:ext>
            </a:extLst>
          </p:cNvPr>
          <p:cNvSpPr txBox="1">
            <a:spLocks/>
          </p:cNvSpPr>
          <p:nvPr/>
        </p:nvSpPr>
        <p:spPr bwMode="auto">
          <a:xfrm>
            <a:off x="6421120" y="800784"/>
            <a:ext cx="2377518" cy="1478594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/>
            <a:endParaRPr lang="fr-FR" sz="1100" dirty="0">
              <a:solidFill>
                <a:schemeClr val="tx1"/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demandes avec une probabilité de défaut supérieures à 96% seront refusées</a:t>
            </a:r>
          </a:p>
          <a:p>
            <a:pPr marL="171450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bjectif métier explicite : Réduire les refus sur les bonnes demandes</a:t>
            </a:r>
          </a:p>
          <a:p>
            <a:pPr marL="487446" lvl="2" indent="-171450"/>
            <a:endParaRPr lang="fr-FR" sz="1100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Visualiser le seuil de probabilité de défaut retenu avec le jeu « LGBM »</a:t>
            </a:r>
            <a:endParaRPr lang="en-US" altLang="fr-FR" sz="2000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53C02AC-CEEE-474F-8DE9-EEACC1216F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85" y="800783"/>
            <a:ext cx="5904853" cy="3541933"/>
          </a:xfrm>
          <a:prstGeom prst="rect">
            <a:avLst/>
          </a:prstGeom>
        </p:spPr>
      </p:pic>
      <p:sp>
        <p:nvSpPr>
          <p:cNvPr id="3" name="Flèche : gauche 2">
            <a:extLst>
              <a:ext uri="{FF2B5EF4-FFF2-40B4-BE49-F238E27FC236}">
                <a16:creationId xmlns:a16="http://schemas.microsoft.com/office/drawing/2014/main" id="{50C5A39D-1C2F-4719-8033-A7123FF6E577}"/>
              </a:ext>
            </a:extLst>
          </p:cNvPr>
          <p:cNvSpPr/>
          <p:nvPr/>
        </p:nvSpPr>
        <p:spPr>
          <a:xfrm>
            <a:off x="3585293" y="1783477"/>
            <a:ext cx="1126594" cy="495900"/>
          </a:xfrm>
          <a:prstGeom prst="lef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Accords</a:t>
            </a:r>
          </a:p>
        </p:txBody>
      </p:sp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6929A72B-518F-4F9A-B8C2-CC31C815D6E4}"/>
              </a:ext>
            </a:extLst>
          </p:cNvPr>
          <p:cNvSpPr/>
          <p:nvPr/>
        </p:nvSpPr>
        <p:spPr>
          <a:xfrm>
            <a:off x="5067054" y="1783477"/>
            <a:ext cx="998899" cy="495900"/>
          </a:xfrm>
          <a:prstGeom prst="rightArrow">
            <a:avLst/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Refus</a:t>
            </a:r>
          </a:p>
        </p:txBody>
      </p:sp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EE554362-625E-4754-8B2F-327596722A68}"/>
              </a:ext>
            </a:extLst>
          </p:cNvPr>
          <p:cNvSpPr txBox="1">
            <a:spLocks/>
          </p:cNvSpPr>
          <p:nvPr/>
        </p:nvSpPr>
        <p:spPr bwMode="auto">
          <a:xfrm>
            <a:off x="5278120" y="2571749"/>
            <a:ext cx="2123440" cy="413338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rgbClr val="FFC000"/>
                </a:solidFill>
              </a:rPr>
              <a:t>Moins refuser induit une augmentation très forte du coût</a:t>
            </a:r>
          </a:p>
        </p:txBody>
      </p:sp>
      <p:sp>
        <p:nvSpPr>
          <p:cNvPr id="16" name="Espace réservé du contenu 22">
            <a:extLst>
              <a:ext uri="{FF2B5EF4-FFF2-40B4-BE49-F238E27FC236}">
                <a16:creationId xmlns:a16="http://schemas.microsoft.com/office/drawing/2014/main" id="{E90BFB51-52AB-40FD-BCA2-BDEB02AA8D7D}"/>
              </a:ext>
            </a:extLst>
          </p:cNvPr>
          <p:cNvSpPr txBox="1">
            <a:spLocks/>
          </p:cNvSpPr>
          <p:nvPr/>
        </p:nvSpPr>
        <p:spPr bwMode="auto">
          <a:xfrm>
            <a:off x="2250440" y="2487343"/>
            <a:ext cx="1991360" cy="413337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rgbClr val="00B050"/>
                </a:solidFill>
              </a:rPr>
              <a:t>Moins accorder induit une augmentation faible du coût</a:t>
            </a:r>
          </a:p>
          <a:p>
            <a:pPr marL="487446" lvl="2" indent="-171450" algn="ctr"/>
            <a:endParaRPr lang="fr-FR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2">
            <a:extLst>
              <a:ext uri="{FF2B5EF4-FFF2-40B4-BE49-F238E27FC236}">
                <a16:creationId xmlns:a16="http://schemas.microsoft.com/office/drawing/2014/main" id="{D4F494A4-D151-4E88-B936-470CC3DEA6FA}"/>
              </a:ext>
            </a:extLst>
          </p:cNvPr>
          <p:cNvSpPr txBox="1">
            <a:spLocks/>
          </p:cNvSpPr>
          <p:nvPr/>
        </p:nvSpPr>
        <p:spPr bwMode="auto">
          <a:xfrm>
            <a:off x="5821955" y="1946667"/>
            <a:ext cx="2979939" cy="558403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endParaRPr lang="fr-FR" sz="1100" dirty="0">
              <a:solidFill>
                <a:schemeClr val="tx1"/>
              </a:solidFill>
            </a:endParaRPr>
          </a:p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Coût global 0,700 M€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550C69D-011A-469C-ABC0-87D3BD7A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1332" y="1072277"/>
            <a:ext cx="4161412" cy="293049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e coût avec le jeu « LGBM »</a:t>
            </a:r>
            <a:endParaRPr lang="en-US" altLang="fr-FR" sz="2000" dirty="0"/>
          </a:p>
        </p:txBody>
      </p:sp>
      <p:sp>
        <p:nvSpPr>
          <p:cNvPr id="36" name="Espace réservé du contenu 22">
            <a:extLst>
              <a:ext uri="{FF2B5EF4-FFF2-40B4-BE49-F238E27FC236}">
                <a16:creationId xmlns:a16="http://schemas.microsoft.com/office/drawing/2014/main" id="{CA6CF821-F812-48C6-94FC-72E22B88CCDC}"/>
              </a:ext>
            </a:extLst>
          </p:cNvPr>
          <p:cNvSpPr txBox="1">
            <a:spLocks/>
          </p:cNvSpPr>
          <p:nvPr/>
        </p:nvSpPr>
        <p:spPr bwMode="auto">
          <a:xfrm>
            <a:off x="1051332" y="697483"/>
            <a:ext cx="4161274" cy="217805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Données d’entraînement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68AF9CC-0FC1-4C7F-A381-C0FE40A336FC}"/>
              </a:ext>
            </a:extLst>
          </p:cNvPr>
          <p:cNvSpPr txBox="1"/>
          <p:nvPr/>
        </p:nvSpPr>
        <p:spPr>
          <a:xfrm>
            <a:off x="1372110" y="4015336"/>
            <a:ext cx="1881155" cy="196340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Accord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6188948-7C61-489C-B6C9-5906DCB68581}"/>
              </a:ext>
            </a:extLst>
          </p:cNvPr>
          <p:cNvSpPr txBox="1"/>
          <p:nvPr/>
        </p:nvSpPr>
        <p:spPr>
          <a:xfrm>
            <a:off x="3305481" y="4015336"/>
            <a:ext cx="1881155" cy="196340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Refu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FE89B56-8E64-4AB7-B950-6E458A1338A4}"/>
              </a:ext>
            </a:extLst>
          </p:cNvPr>
          <p:cNvSpPr txBox="1"/>
          <p:nvPr/>
        </p:nvSpPr>
        <p:spPr>
          <a:xfrm rot="16200000">
            <a:off x="288327" y="1739372"/>
            <a:ext cx="1223345" cy="251416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Bonn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6ABACA3-2A1C-4741-A830-95F6DEE8F2A7}"/>
              </a:ext>
            </a:extLst>
          </p:cNvPr>
          <p:cNvSpPr txBox="1"/>
          <p:nvPr/>
        </p:nvSpPr>
        <p:spPr>
          <a:xfrm rot="16200000">
            <a:off x="306548" y="2968720"/>
            <a:ext cx="1186906" cy="251416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Mauvais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AEA4DBB-B704-4E1E-A371-BFBEAD23BA3D}"/>
              </a:ext>
            </a:extLst>
          </p:cNvPr>
          <p:cNvSpPr txBox="1"/>
          <p:nvPr/>
        </p:nvSpPr>
        <p:spPr>
          <a:xfrm>
            <a:off x="3400916" y="2216360"/>
            <a:ext cx="1704659" cy="2240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000" dirty="0"/>
              <a:t>Refus de bonnes demand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BDF31D9-0A10-4065-A902-C46D641443A9}"/>
              </a:ext>
            </a:extLst>
          </p:cNvPr>
          <p:cNvSpPr txBox="1"/>
          <p:nvPr/>
        </p:nvSpPr>
        <p:spPr>
          <a:xfrm>
            <a:off x="1427309" y="3363902"/>
            <a:ext cx="1704659" cy="3333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000" dirty="0"/>
              <a:t>Accord de mauvaises demande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E568515-F94E-4CDD-AFDE-B6F67D95D959}"/>
              </a:ext>
            </a:extLst>
          </p:cNvPr>
          <p:cNvSpPr txBox="1"/>
          <p:nvPr/>
        </p:nvSpPr>
        <p:spPr>
          <a:xfrm rot="16200000">
            <a:off x="-594278" y="2344936"/>
            <a:ext cx="2434475" cy="25141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Cibl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C739981-9D19-4E09-93BB-E6F15675BD74}"/>
              </a:ext>
            </a:extLst>
          </p:cNvPr>
          <p:cNvSpPr txBox="1"/>
          <p:nvPr/>
        </p:nvSpPr>
        <p:spPr>
          <a:xfrm>
            <a:off x="1372110" y="4224241"/>
            <a:ext cx="3814526" cy="25141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Prédiction</a:t>
            </a:r>
          </a:p>
        </p:txBody>
      </p:sp>
    </p:spTree>
    <p:extLst>
      <p:ext uri="{BB962C8B-B14F-4D97-AF65-F5344CB8AC3E}">
        <p14:creationId xmlns:p14="http://schemas.microsoft.com/office/powerpoint/2010/main" val="153154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Importance globale des variables avec le jeu « LGBM »</a:t>
            </a:r>
            <a:endParaRPr lang="en-US" altLang="fr-FR" sz="2000" dirty="0"/>
          </a:p>
        </p:txBody>
      </p:sp>
      <p:sp>
        <p:nvSpPr>
          <p:cNvPr id="14" name="Espace réservé du contenu 22">
            <a:extLst>
              <a:ext uri="{FF2B5EF4-FFF2-40B4-BE49-F238E27FC236}">
                <a16:creationId xmlns:a16="http://schemas.microsoft.com/office/drawing/2014/main" id="{20ED0E67-1F0E-4927-9346-AF1994490A7D}"/>
              </a:ext>
            </a:extLst>
          </p:cNvPr>
          <p:cNvSpPr txBox="1">
            <a:spLocks/>
          </p:cNvSpPr>
          <p:nvPr/>
        </p:nvSpPr>
        <p:spPr bwMode="auto">
          <a:xfrm>
            <a:off x="4712164" y="740065"/>
            <a:ext cx="4089730" cy="593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pprécier les poid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rire les variabl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rganiser le tableau de bord par thématiques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B5773A29-5882-423F-8388-E8D250229A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106" y="740065"/>
            <a:ext cx="4002963" cy="2828890"/>
          </a:xfrm>
          <a:prstGeom prst="rect">
            <a:avLst/>
          </a:prstGeom>
        </p:spPr>
      </p:pic>
      <p:graphicFrame>
        <p:nvGraphicFramePr>
          <p:cNvPr id="13" name="Tableau 3">
            <a:extLst>
              <a:ext uri="{FF2B5EF4-FFF2-40B4-BE49-F238E27FC236}">
                <a16:creationId xmlns:a16="http://schemas.microsoft.com/office/drawing/2014/main" id="{C4F58E45-E040-4E58-A447-0447671ED5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104864"/>
              </p:ext>
            </p:extLst>
          </p:nvPr>
        </p:nvGraphicFramePr>
        <p:xfrm>
          <a:off x="1508427" y="1468381"/>
          <a:ext cx="7293468" cy="304524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47537">
                  <a:extLst>
                    <a:ext uri="{9D8B030D-6E8A-4147-A177-3AD203B41FA5}">
                      <a16:colId xmlns:a16="http://schemas.microsoft.com/office/drawing/2014/main" val="3513515425"/>
                    </a:ext>
                  </a:extLst>
                </a:gridCol>
                <a:gridCol w="2353389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2613102">
                  <a:extLst>
                    <a:ext uri="{9D8B030D-6E8A-4147-A177-3AD203B41FA5}">
                      <a16:colId xmlns:a16="http://schemas.microsoft.com/office/drawing/2014/main" val="1337123558"/>
                    </a:ext>
                  </a:extLst>
                </a:gridCol>
                <a:gridCol w="1479440">
                  <a:extLst>
                    <a:ext uri="{9D8B030D-6E8A-4147-A177-3AD203B41FA5}">
                      <a16:colId xmlns:a16="http://schemas.microsoft.com/office/drawing/2014/main" val="44687234"/>
                    </a:ext>
                  </a:extLst>
                </a:gridCol>
              </a:tblGrid>
              <a:tr h="225958">
                <a:tc>
                  <a:txBody>
                    <a:bodyPr/>
                    <a:lstStyle/>
                    <a:p>
                      <a:r>
                        <a:rPr lang="fr-FR" sz="600" dirty="0"/>
                        <a:t>Impor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Thémati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AMT_GOODS_PRIC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x du bien concerné par la demand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236609"/>
                  </a:ext>
                </a:extLst>
              </a:tr>
              <a:tr h="33773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EXT_SOURCE_1 EXT_SOURCE_2 EXT_SOURCE_3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aison linéaire des 3 scores externes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YS_EMPLOYED</a:t>
                      </a:r>
                      <a:endParaRPr lang="fr-FR" sz="60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cienneté sur le poste courant</a:t>
                      </a:r>
                      <a:endParaRPr lang="fr-FR" sz="600" b="0" i="0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577060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DAYS_EMPLOYED_PERC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cienneté sur le poste courant / Âge du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1100386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CREDIT_TER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nuité du prêt demandé / Montant du prêt demandé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53082"/>
                  </a:ext>
                </a:extLst>
              </a:tr>
              <a:tr h="33773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T_SOURCE_2 EXT_SOURCE_3^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aison linéaire du Score2 et du Score3 au carré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2 + Score3</a:t>
                      </a:r>
                      <a:r>
                        <a:rPr lang="fr-FR" sz="600" b="0" i="0" kern="1200" baseline="300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933217"/>
                  </a:ext>
                </a:extLst>
              </a:tr>
              <a:tr h="45031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_installments_AMT_PAYMENT_min_sum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omme des montants de la plus petite échéance payée sur chacun des </a:t>
                      </a: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êts antérieurs avec « Prêt à dépenser »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es anciens prê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11769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YS_BIRTH_x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 du client</a:t>
                      </a:r>
                      <a:endParaRPr lang="fr-FR" sz="600" b="0" i="0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96874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AMT_CREDI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ontant du prêt demandé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956734"/>
                  </a:ext>
                </a:extLst>
              </a:tr>
              <a:tr h="33773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bureau_DAYS_CREDIT_max</a:t>
                      </a:r>
                      <a:endParaRPr lang="fr-FR" sz="600" b="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ienneté du plus ancien des </a:t>
                      </a: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édits reportés par le Crédit Bureau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 anciens prê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993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00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3600" dirty="0">
                <a:solidFill>
                  <a:srgbClr val="0070C0"/>
                </a:solidFill>
              </a:rPr>
              <a:t>Présentation du tableau de bord</a:t>
            </a:r>
            <a:endParaRPr lang="fr-FR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5" name="Espace réservé du contenu 22">
            <a:extLst>
              <a:ext uri="{FF2B5EF4-FFF2-40B4-BE49-F238E27FC236}">
                <a16:creationId xmlns:a16="http://schemas.microsoft.com/office/drawing/2014/main" id="{38755047-4B66-4ED3-9762-A5A338CA8969}"/>
              </a:ext>
            </a:extLst>
          </p:cNvPr>
          <p:cNvSpPr txBox="1">
            <a:spLocks/>
          </p:cNvSpPr>
          <p:nvPr/>
        </p:nvSpPr>
        <p:spPr bwMode="auto">
          <a:xfrm>
            <a:off x="342106" y="4053297"/>
            <a:ext cx="8459787" cy="4996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63" lvl="1" indent="0" algn="ctr">
              <a:buNone/>
            </a:pPr>
            <a:r>
              <a:rPr lang="fr-FR" sz="1400" dirty="0">
                <a:solidFill>
                  <a:schemeClr val="bg1">
                    <a:lumMod val="75000"/>
                    <a:lumOff val="25000"/>
                  </a:schemeClr>
                </a:solidFill>
                <a:hlinkClick r:id="rId7"/>
              </a:rPr>
              <a:t>Lien vers le tableau de bord</a:t>
            </a:r>
            <a:endParaRPr lang="fr-FR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4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nclusion</a:t>
            </a:r>
          </a:p>
        </p:txBody>
      </p:sp>
      <p:sp>
        <p:nvSpPr>
          <p:cNvPr id="4" name="Espace réservé du contenu 22">
            <a:extLst>
              <a:ext uri="{FF2B5EF4-FFF2-40B4-BE49-F238E27FC236}">
                <a16:creationId xmlns:a16="http://schemas.microsoft.com/office/drawing/2014/main" id="{B275D4D6-3D80-474A-844D-DEA85CD48B62}"/>
              </a:ext>
            </a:extLst>
          </p:cNvPr>
          <p:cNvSpPr txBox="1">
            <a:spLocks/>
          </p:cNvSpPr>
          <p:nvPr/>
        </p:nvSpPr>
        <p:spPr bwMode="auto">
          <a:xfrm>
            <a:off x="342106" y="1054563"/>
            <a:ext cx="8459788" cy="288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tomatisation de la décision de crédit avec un score basé sur une fonction coût élaborée avec le métier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abilité de défaut évaluée avec un modèle « XGBOOST » utilisant 11 variables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Bonne performance à l’entraînement : Coût global = 700 K€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xplication de la décision facilitée et personnalisée grâce à un tableau de bord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mportance de variables sur la probabilité de défau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ositionnement de la demande sur chaque variables important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ploiement d’un tableau de bord interactif dans le cloud 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ations</a:t>
            </a:r>
            <a:endParaRPr lang="fr-FR" sz="1100" b="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traîner le modèle sur plus d’individus pour mieux généraliser (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ût global</a:t>
            </a: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~ 18 M€)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téger l’accès au tableau de bord</a:t>
            </a:r>
            <a:endParaRPr lang="fr-FR" sz="1100" b="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quilibrer les classes en sous-échantillonnant la classe majoritaire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93C9ACE-8E34-4FDA-9892-5E8DC708D9B4}"/>
              </a:ext>
            </a:extLst>
          </p:cNvPr>
          <p:cNvSpPr txBox="1"/>
          <p:nvPr/>
        </p:nvSpPr>
        <p:spPr>
          <a:xfrm>
            <a:off x="341423" y="4151510"/>
            <a:ext cx="8460471" cy="372696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lvl="2" algn="ctr"/>
            <a:r>
              <a:rPr lang="fr-FR" sz="1400" u="sng" dirty="0">
                <a:solidFill>
                  <a:srgbClr val="0070C0"/>
                </a:solidFill>
                <a:hlinkClick r:id="rId7"/>
              </a:rPr>
              <a:t>Lien vers GitHub repository</a:t>
            </a:r>
            <a:endParaRPr lang="fr-FR" sz="1400" b="1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4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749006" lvl="2" indent="-285750"/>
            <a:r>
              <a:rPr lang="fr-FR" sz="3600" kern="1200" cap="all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nnexes</a:t>
            </a:r>
            <a:br>
              <a:rPr lang="fr-FR" dirty="0"/>
            </a:br>
            <a:br>
              <a:rPr lang="fr-FR" dirty="0"/>
            </a:br>
            <a:endParaRPr lang="fr-FR" sz="1200" b="0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69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Rechercher des kernels sous </a:t>
            </a:r>
            <a:r>
              <a:rPr lang="fr-FR" sz="2000" dirty="0" err="1"/>
              <a:t>Kaggle</a:t>
            </a:r>
            <a:endParaRPr lang="fr-FR" altLang="fr-FR" sz="2000" dirty="0"/>
          </a:p>
        </p:txBody>
      </p:sp>
      <p:graphicFrame>
        <p:nvGraphicFramePr>
          <p:cNvPr id="6" name="Tableau 3">
            <a:extLst>
              <a:ext uri="{FF2B5EF4-FFF2-40B4-BE49-F238E27FC236}">
                <a16:creationId xmlns:a16="http://schemas.microsoft.com/office/drawing/2014/main" id="{F773C989-06CE-42E3-AF0B-111275A909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138862"/>
              </p:ext>
            </p:extLst>
          </p:nvPr>
        </p:nvGraphicFramePr>
        <p:xfrm>
          <a:off x="457138" y="967851"/>
          <a:ext cx="8407535" cy="30480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10168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2768918">
                  <a:extLst>
                    <a:ext uri="{9D8B030D-6E8A-4147-A177-3AD203B41FA5}">
                      <a16:colId xmlns:a16="http://schemas.microsoft.com/office/drawing/2014/main" val="301059068"/>
                    </a:ext>
                  </a:extLst>
                </a:gridCol>
                <a:gridCol w="3028449">
                  <a:extLst>
                    <a:ext uri="{9D8B030D-6E8A-4147-A177-3AD203B41FA5}">
                      <a16:colId xmlns:a16="http://schemas.microsoft.com/office/drawing/2014/main" val="4129481740"/>
                    </a:ext>
                  </a:extLst>
                </a:gridCol>
              </a:tblGrid>
              <a:tr h="183529">
                <a:tc>
                  <a:txBody>
                    <a:bodyPr/>
                    <a:lstStyle/>
                    <a:p>
                      <a:r>
                        <a:rPr lang="fr-FR" sz="800" dirty="0"/>
                        <a:t>Compétition « Home </a:t>
                      </a:r>
                      <a:r>
                        <a:rPr lang="fr-FR" sz="800" dirty="0" err="1"/>
                        <a:t>Credit</a:t>
                      </a:r>
                      <a:r>
                        <a:rPr lang="fr-FR" sz="800" dirty="0"/>
                        <a:t> Default Risk »</a:t>
                      </a:r>
                    </a:p>
                    <a:p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dirty="0"/>
                        <a:t>Analyse Exploratoire des Donné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dirty="0"/>
                        <a:t>« </a:t>
                      </a:r>
                      <a:r>
                        <a:rPr lang="fr-FR" sz="800" dirty="0" err="1"/>
                        <a:t>Feature</a:t>
                      </a:r>
                      <a:r>
                        <a:rPr lang="fr-FR" sz="800" dirty="0"/>
                        <a:t> engineering 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kern="1200" cap="all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KOEHRSE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Start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Here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: A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Gentle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 Introductio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Introduction to Manual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Engineering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tion: Manual Feature Engineering (part two)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tion: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lection</a:t>
                      </a:r>
                      <a:endParaRPr lang="fr-FR" sz="80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aitement des valeurs manquant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ès commenté</a:t>
                      </a:r>
                    </a:p>
                    <a:p>
                      <a:pPr algn="l"/>
                      <a:endParaRPr lang="fr-FR" sz="8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codage des variables catégoriel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nctions variables numériques et catégoriel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s métier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ing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olynomial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ing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ar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régrats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kern="1200" cap="all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KOEHRSE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Engineering Basic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ep</a:t>
                      </a: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thesis</a:t>
                      </a:r>
                      <a:endParaRPr lang="fr-FR" sz="8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159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 err="1">
                          <a:solidFill>
                            <a:schemeClr val="bg1"/>
                          </a:solidFill>
                        </a:rPr>
                        <a:t>Aguiar</a:t>
                      </a:r>
                      <a:endParaRPr lang="fr-FR" sz="800" b="1" i="0" dirty="0">
                        <a:solidFill>
                          <a:schemeClr val="bg1"/>
                        </a:solidFill>
                      </a:endParaRPr>
                    </a:p>
                    <a:p>
                      <a:pPr algn="l"/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LightGBM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 Simple Featur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Code propre et structuré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353360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LATHWAL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Home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Credit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: Complete EDA +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Importanc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sérieuse avec des visualisations (module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plotly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vious_application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sen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39918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GABRIEL PREDA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Home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Credit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Default Risk Extensive ED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assez complèt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bureau,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vious_application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968108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ANDREW LUKYANENKO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EDA, basic FE and LGB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ploration privilégiée sur le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engineering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eu développé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g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478413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DANIEL BORIM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HomeCreditRisk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- Extensive EDA,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Eng, PC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gique de questionnement métier simple à comprendr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nctions de discrétisation des montan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08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27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849298"/>
            <a:ext cx="8459788" cy="370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 partir des 4 kernels publiés par Will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oehrsen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(listés en annexe)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aison du choix: exhaustivité des données et cohabitation de l’approche métier et d’approches automatisé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implification et Ajout d’un jeu de données supplémentaire issu d’une réduction de dimensions alternative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incipaux traitements issus des kernels :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codage des variables catégorielles: « Label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encod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jusqu'à 2 modalités sinon «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ne-Hot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Encod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</a:t>
            </a:r>
          </a:p>
          <a:p>
            <a:pPr marL="676359" lvl="2" indent="0">
              <a:buNone/>
            </a:pP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		Point d’attention sur l’alignement les variables des </a:t>
            </a:r>
            <a:r>
              <a:rPr lang="fr-FR" sz="1100" i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dataframes</a:t>
            </a: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de test et d’entraînemen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eature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engineering: 238 variables → 1 477 variables</a:t>
            </a:r>
          </a:p>
          <a:p>
            <a:pPr marL="676359" lvl="2" indent="0">
              <a:buNone/>
            </a:pP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		4, 35 puis 1200 variables résultantes des approches métier, polynomiale et par agrégat, respectivemen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Valeurs manquantes: supprimer les variables ayant plus de 90% de valeurs manquantes sinon remplacer par la médiane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entrage-réduction: « Standard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caler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peu sensible aux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utliers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duction de dimension: variables les plus importantes pour un modèle de classification « Gradient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Boost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daptations :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imitation aux 11 variables les plus importantes</a:t>
            </a: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jout d’une réduction de dimension alternative: « Analyse en Composantes Principales » avec 60% de variance expliquée et limitation aux 15 variables les plus corrélées à la variable cible</a:t>
            </a: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76359" lvl="2" indent="0">
              <a:buNone/>
            </a:pP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méliorer les kernels</a:t>
            </a:r>
            <a:endParaRPr lang="fr-FR" altLang="fr-FR" sz="2000" dirty="0"/>
          </a:p>
        </p:txBody>
      </p:sp>
      <p:graphicFrame>
        <p:nvGraphicFramePr>
          <p:cNvPr id="5" name="Tableau 3">
            <a:extLst>
              <a:ext uri="{FF2B5EF4-FFF2-40B4-BE49-F238E27FC236}">
                <a16:creationId xmlns:a16="http://schemas.microsoft.com/office/drawing/2014/main" id="{44B7D93D-8589-4608-9378-9AE6E992C272}"/>
              </a:ext>
            </a:extLst>
          </p:cNvPr>
          <p:cNvGraphicFramePr>
            <a:graphicFrameLocks noGrp="1"/>
          </p:cNvGraphicFramePr>
          <p:nvPr/>
        </p:nvGraphicFramePr>
        <p:xfrm>
          <a:off x="1865134" y="2182964"/>
          <a:ext cx="5053422" cy="80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6218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2587204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r>
                        <a:rPr lang="fr-FR" dirty="0"/>
                        <a:t>Nom du 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238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9CDF3293-2193-4062-8D3A-9CE5F395C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105" y="1044595"/>
            <a:ext cx="5244811" cy="2401337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0C419FC-7A82-4BB1-88FB-D39375D02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Réduire les dimension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F3560B6-F316-4834-9E2D-1648D1A89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5815" y="2260601"/>
            <a:ext cx="4800252" cy="2239582"/>
          </a:xfrm>
          <a:prstGeom prst="rect">
            <a:avLst/>
          </a:prstGeom>
        </p:spPr>
      </p:pic>
      <p:sp>
        <p:nvSpPr>
          <p:cNvPr id="12" name="Titre 2">
            <a:extLst>
              <a:ext uri="{FF2B5EF4-FFF2-40B4-BE49-F238E27FC236}">
                <a16:creationId xmlns:a16="http://schemas.microsoft.com/office/drawing/2014/main" id="{5FFDA206-6B28-4382-807C-E749372A03A9}"/>
              </a:ext>
            </a:extLst>
          </p:cNvPr>
          <p:cNvSpPr txBox="1">
            <a:spLocks/>
          </p:cNvSpPr>
          <p:nvPr/>
        </p:nvSpPr>
        <p:spPr bwMode="auto">
          <a:xfrm>
            <a:off x="342106" y="741935"/>
            <a:ext cx="8459788" cy="22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/>
              <a:t>« Analyse en Composantes Principales » avec 60% de variance expliquée</a:t>
            </a:r>
          </a:p>
        </p:txBody>
      </p:sp>
      <p:sp>
        <p:nvSpPr>
          <p:cNvPr id="15" name="Titre 2">
            <a:extLst>
              <a:ext uri="{FF2B5EF4-FFF2-40B4-BE49-F238E27FC236}">
                <a16:creationId xmlns:a16="http://schemas.microsoft.com/office/drawing/2014/main" id="{04AA0238-B8F8-4D89-A54B-E1507D29D70E}"/>
              </a:ext>
            </a:extLst>
          </p:cNvPr>
          <p:cNvSpPr txBox="1">
            <a:spLocks/>
          </p:cNvSpPr>
          <p:nvPr/>
        </p:nvSpPr>
        <p:spPr bwMode="auto">
          <a:xfrm>
            <a:off x="3965815" y="1842834"/>
            <a:ext cx="4836079" cy="22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/>
              <a:t>Importance des variables du modèle de classification « Gradient </a:t>
            </a:r>
            <a:r>
              <a:rPr lang="fr-FR" sz="1200" dirty="0" err="1"/>
              <a:t>Boosting</a:t>
            </a:r>
            <a:r>
              <a:rPr lang="fr-FR" sz="1200" dirty="0"/>
              <a:t> »</a:t>
            </a:r>
          </a:p>
        </p:txBody>
      </p:sp>
      <p:graphicFrame>
        <p:nvGraphicFramePr>
          <p:cNvPr id="8" name="Tableau 3">
            <a:extLst>
              <a:ext uri="{FF2B5EF4-FFF2-40B4-BE49-F238E27FC236}">
                <a16:creationId xmlns:a16="http://schemas.microsoft.com/office/drawing/2014/main" id="{29FFEEA6-6AFA-4B49-85E1-19E10200A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0518172"/>
              </p:ext>
            </p:extLst>
          </p:nvPr>
        </p:nvGraphicFramePr>
        <p:xfrm>
          <a:off x="342105" y="3518598"/>
          <a:ext cx="2850198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568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1230630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 du </a:t>
                      </a:r>
                    </a:p>
                    <a:p>
                      <a:pPr algn="ctr"/>
                      <a:r>
                        <a:rPr lang="fr-FR" dirty="0"/>
                        <a:t>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</a:t>
                      </a:r>
                    </a:p>
                    <a:p>
                      <a:pPr algn="ctr"/>
                      <a:r>
                        <a:rPr lang="fr-FR" dirty="0"/>
                        <a:t>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840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Espace réservé du contenu 22"/>
          <p:cNvSpPr>
            <a:spLocks noGrp="1"/>
          </p:cNvSpPr>
          <p:nvPr>
            <p:ph idx="1"/>
          </p:nvPr>
        </p:nvSpPr>
        <p:spPr>
          <a:xfrm>
            <a:off x="727656" y="1459406"/>
            <a:ext cx="8074921" cy="3106153"/>
          </a:xfrm>
        </p:spPr>
        <p:txBody>
          <a:bodyPr/>
          <a:lstStyle/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oblématique et jeu de donnée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Explication de l’approche de modélisation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ésentation du tableau de bord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Conclusion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147260" lvl="1" indent="0">
              <a:buNone/>
            </a:pPr>
            <a:r>
              <a:rPr lang="fr-FR" sz="1400" dirty="0">
                <a:solidFill>
                  <a:srgbClr val="0070C0"/>
                </a:solidFill>
              </a:rPr>
              <a:t>Annexes</a:t>
            </a:r>
          </a:p>
          <a:p>
            <a:pPr lvl="1"/>
            <a:endParaRPr lang="fr-FR" altLang="fr-FR" dirty="0"/>
          </a:p>
        </p:txBody>
      </p:sp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genda</a:t>
            </a:r>
            <a:endParaRPr lang="fr-FR" altLang="fr-FR" sz="2000" dirty="0"/>
          </a:p>
        </p:txBody>
      </p:sp>
    </p:spTree>
    <p:extLst>
      <p:ext uri="{BB962C8B-B14F-4D97-AF65-F5344CB8AC3E}">
        <p14:creationId xmlns:p14="http://schemas.microsoft.com/office/powerpoint/2010/main" val="41776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923685"/>
            <a:ext cx="8459788" cy="10474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larer la fonction de coût de chaque demande 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rguments: classes cibles, classes prédites, dictionnaire des paramètres supplémentaires sous forme de vecteurs. Ici, une seule clé pour le montant de la demande.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larer la fonction coût total 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nction coût total : somme les coûts des demand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jouter la fonction coût total en tant que métrique d’évaluation et transmettre le dictionnaire des paramètres supplémentaires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nction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add_metric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de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L’algorithme d’optimisation</a:t>
            </a:r>
            <a:endParaRPr lang="en-US" altLang="fr-FR" sz="2000" dirty="0"/>
          </a:p>
        </p:txBody>
      </p:sp>
      <p:sp>
        <p:nvSpPr>
          <p:cNvPr id="8" name="Espace réservé du contenu 22">
            <a:extLst>
              <a:ext uri="{FF2B5EF4-FFF2-40B4-BE49-F238E27FC236}">
                <a16:creationId xmlns:a16="http://schemas.microsoft.com/office/drawing/2014/main" id="{8078EA1F-3764-419D-85DD-6116833FCB71}"/>
              </a:ext>
            </a:extLst>
          </p:cNvPr>
          <p:cNvSpPr txBox="1">
            <a:spLocks/>
          </p:cNvSpPr>
          <p:nvPr/>
        </p:nvSpPr>
        <p:spPr bwMode="auto">
          <a:xfrm>
            <a:off x="342106" y="2338092"/>
            <a:ext cx="8459788" cy="8919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dentifier le meilleur type de modèle par comparaison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compare_model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avec sort='Cout'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gler les hyper-paramètres du meilleur type de modèle (Tuner)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tune_model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ptimize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='Cout’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alculer la prédiction, la probabilité de défaut et le coût de chaque demande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Espace réservé du contenu 22">
            <a:extLst>
              <a:ext uri="{FF2B5EF4-FFF2-40B4-BE49-F238E27FC236}">
                <a16:creationId xmlns:a16="http://schemas.microsoft.com/office/drawing/2014/main" id="{77AA174B-0A94-4FFD-B60B-EEBAA198A1C6}"/>
              </a:ext>
            </a:extLst>
          </p:cNvPr>
          <p:cNvSpPr txBox="1">
            <a:spLocks/>
          </p:cNvSpPr>
          <p:nvPr/>
        </p:nvSpPr>
        <p:spPr bwMode="auto">
          <a:xfrm>
            <a:off x="342106" y="3597043"/>
            <a:ext cx="8459788" cy="941651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a situation de sur-apprentissage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Observer les résultats en coût en distinguant les combinaisons (matrice de confusion) et globalement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e caractère significatif de l’évolution du coût autour du seuil de probabilité minimum en traçant la fonction de coût</a:t>
            </a:r>
            <a:endParaRPr lang="fr-FR" sz="800" dirty="0">
              <a:solidFill>
                <a:schemeClr val="tx1"/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a qualité de la généralisation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’importance globale des variabl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riangle isocèle 2">
            <a:extLst>
              <a:ext uri="{FF2B5EF4-FFF2-40B4-BE49-F238E27FC236}">
                <a16:creationId xmlns:a16="http://schemas.microsoft.com/office/drawing/2014/main" id="{DAAF073E-6A7B-4788-B6B4-1727F5D50DF9}"/>
              </a:ext>
            </a:extLst>
          </p:cNvPr>
          <p:cNvSpPr/>
          <p:nvPr/>
        </p:nvSpPr>
        <p:spPr>
          <a:xfrm rot="10800000">
            <a:off x="3677631" y="2074099"/>
            <a:ext cx="1788739" cy="161003"/>
          </a:xfrm>
          <a:prstGeom prst="triangl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0" name="Triangle isocèle 9">
            <a:extLst>
              <a:ext uri="{FF2B5EF4-FFF2-40B4-BE49-F238E27FC236}">
                <a16:creationId xmlns:a16="http://schemas.microsoft.com/office/drawing/2014/main" id="{68A26288-DFC5-4478-A09E-010E03C2C28F}"/>
              </a:ext>
            </a:extLst>
          </p:cNvPr>
          <p:cNvSpPr/>
          <p:nvPr/>
        </p:nvSpPr>
        <p:spPr>
          <a:xfrm rot="10800000">
            <a:off x="3677631" y="3333052"/>
            <a:ext cx="1788739" cy="161003"/>
          </a:xfrm>
          <a:prstGeom prst="triangl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10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mparer les résultats pour chaque jeu</a:t>
            </a:r>
            <a:endParaRPr lang="en-US" altLang="fr-FR" sz="2000" dirty="0"/>
          </a:p>
        </p:txBody>
      </p:sp>
      <p:graphicFrame>
        <p:nvGraphicFramePr>
          <p:cNvPr id="21" name="Tableau 3">
            <a:extLst>
              <a:ext uri="{FF2B5EF4-FFF2-40B4-BE49-F238E27FC236}">
                <a16:creationId xmlns:a16="http://schemas.microsoft.com/office/drawing/2014/main" id="{7EAF86BF-1860-4A17-9969-03F647ED0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746782"/>
              </p:ext>
            </p:extLst>
          </p:nvPr>
        </p:nvGraphicFramePr>
        <p:xfrm>
          <a:off x="1158882" y="1835944"/>
          <a:ext cx="7116172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822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956756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  <a:gridCol w="1387392">
                  <a:extLst>
                    <a:ext uri="{9D8B030D-6E8A-4147-A177-3AD203B41FA5}">
                      <a16:colId xmlns:a16="http://schemas.microsoft.com/office/drawing/2014/main" val="3660749798"/>
                    </a:ext>
                  </a:extLst>
                </a:gridCol>
                <a:gridCol w="590883">
                  <a:extLst>
                    <a:ext uri="{9D8B030D-6E8A-4147-A177-3AD203B41FA5}">
                      <a16:colId xmlns:a16="http://schemas.microsoft.com/office/drawing/2014/main" val="1022088939"/>
                    </a:ext>
                  </a:extLst>
                </a:gridCol>
                <a:gridCol w="1434230">
                  <a:extLst>
                    <a:ext uri="{9D8B030D-6E8A-4147-A177-3AD203B41FA5}">
                      <a16:colId xmlns:a16="http://schemas.microsoft.com/office/drawing/2014/main" val="3524317984"/>
                    </a:ext>
                  </a:extLst>
                </a:gridCol>
                <a:gridCol w="1799089">
                  <a:extLst>
                    <a:ext uri="{9D8B030D-6E8A-4147-A177-3AD203B41FA5}">
                      <a16:colId xmlns:a16="http://schemas.microsoft.com/office/drawing/2014/main" val="2401027502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r>
                        <a:rPr lang="fr-FR" sz="1200" dirty="0"/>
                        <a:t>Nom du 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ombre de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Modèle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Seuil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Coût global jeu d’entraînement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Coût global jeu de validation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ANDOM FORES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,59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,381 M€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5,273 M€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None/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XGBOO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,9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,701 M€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,957 M€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14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 40">
            <a:extLst>
              <a:ext uri="{FF2B5EF4-FFF2-40B4-BE49-F238E27FC236}">
                <a16:creationId xmlns:a16="http://schemas.microsoft.com/office/drawing/2014/main" id="{3102FDCC-620D-465C-90E1-978E0D3DD3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65" y="857937"/>
            <a:ext cx="4850357" cy="334814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e sur-apprentissage avec le jeu « LGBM »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val="318816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a généralisation avec le jeu « LGBM »</a:t>
            </a:r>
            <a:endParaRPr lang="en-US" altLang="fr-FR" sz="2000" dirty="0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4C4DE0E5-68F7-4C97-A901-202AB297EB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592" y="1256547"/>
            <a:ext cx="4161274" cy="2957879"/>
          </a:xfrm>
          <a:prstGeom prst="rect">
            <a:avLst/>
          </a:prstGeom>
        </p:spPr>
      </p:pic>
      <p:sp>
        <p:nvSpPr>
          <p:cNvPr id="26" name="Espace réservé du contenu 22">
            <a:extLst>
              <a:ext uri="{FF2B5EF4-FFF2-40B4-BE49-F238E27FC236}">
                <a16:creationId xmlns:a16="http://schemas.microsoft.com/office/drawing/2014/main" id="{46507BD3-6845-4F88-B14C-F9274B79036C}"/>
              </a:ext>
            </a:extLst>
          </p:cNvPr>
          <p:cNvSpPr txBox="1">
            <a:spLocks/>
          </p:cNvSpPr>
          <p:nvPr/>
        </p:nvSpPr>
        <p:spPr bwMode="auto">
          <a:xfrm>
            <a:off x="5610576" y="2384059"/>
            <a:ext cx="2676832" cy="558402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eaLnBrk="0" hangingPunct="0">
              <a:spcBef>
                <a:spcPts val="170"/>
              </a:spcBef>
              <a:buClr>
                <a:srgbClr val="D2DCAA"/>
              </a:buClr>
              <a:buSzPct val="100000"/>
              <a:defRPr sz="1600" b="1">
                <a:solidFill>
                  <a:schemeClr val="bg1"/>
                </a:solidFill>
                <a:latin typeface="+mn-lt"/>
                <a:cs typeface="+mn-cs"/>
              </a:defRPr>
            </a:lvl1pPr>
            <a:lvl2pPr marL="0" lvl="1" indent="0" algn="ctr" eaLnBrk="0" hangingPunct="0">
              <a:spcBef>
                <a:spcPts val="170"/>
              </a:spcBef>
              <a:buClr>
                <a:schemeClr val="accent4"/>
              </a:buClr>
              <a:buSzPct val="90000"/>
              <a:buFont typeface="Wingdings" pitchFamily="2" charset="2"/>
              <a:buNone/>
              <a:defRPr sz="1100">
                <a:latin typeface="+mn-lt"/>
                <a:cs typeface="+mn-cs"/>
              </a:defRPr>
            </a:lvl2pPr>
            <a:lvl3pPr marL="616652" indent="-150328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+mn-lt"/>
                <a:cs typeface="+mn-cs"/>
              </a:defRPr>
            </a:lvl3pPr>
            <a:lvl4pPr marL="923444" indent="-144192" eaLnBrk="0" hangingPunct="0">
              <a:spcBef>
                <a:spcPts val="170"/>
              </a:spcBef>
              <a:buClr>
                <a:schemeClr val="bg2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+mn-lt"/>
                <a:cs typeface="+mn-cs"/>
              </a:defRPr>
            </a:lvl4pPr>
            <a:lvl5pPr marL="2706" indent="4059" eaLnBrk="0" hangingPunct="0">
              <a:spcBef>
                <a:spcPts val="170"/>
              </a:spcBef>
              <a:defRPr sz="900">
                <a:solidFill>
                  <a:schemeClr val="bg2"/>
                </a:solidFill>
                <a:latin typeface="+mn-lt"/>
                <a:cs typeface="+mn-cs"/>
              </a:defRPr>
            </a:lvl5pPr>
            <a:lvl6pPr marL="2142942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6pPr>
            <a:lvl7pPr marL="2532568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7pPr>
            <a:lvl8pPr marL="2922194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8pPr>
            <a:lvl9pPr marL="3311820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9pPr>
          </a:lstStyle>
          <a:p>
            <a:pPr lvl="1"/>
            <a:endParaRPr lang="fr-FR" dirty="0"/>
          </a:p>
          <a:p>
            <a:pPr lvl="1"/>
            <a:r>
              <a:rPr lang="fr-FR" dirty="0"/>
              <a:t>Coût global 17,957 M€</a:t>
            </a:r>
          </a:p>
        </p:txBody>
      </p:sp>
      <p:sp>
        <p:nvSpPr>
          <p:cNvPr id="36" name="Espace réservé du contenu 22">
            <a:extLst>
              <a:ext uri="{FF2B5EF4-FFF2-40B4-BE49-F238E27FC236}">
                <a16:creationId xmlns:a16="http://schemas.microsoft.com/office/drawing/2014/main" id="{CA6CF821-F812-48C6-94FC-72E22B88CCDC}"/>
              </a:ext>
            </a:extLst>
          </p:cNvPr>
          <p:cNvSpPr txBox="1">
            <a:spLocks/>
          </p:cNvSpPr>
          <p:nvPr/>
        </p:nvSpPr>
        <p:spPr bwMode="auto">
          <a:xfrm>
            <a:off x="856592" y="985347"/>
            <a:ext cx="4161274" cy="217805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Données de validation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7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Navigation / Décision et Jauge de probabilité de défaut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205BCE6-DE2F-4585-83DC-07DA395EE6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556" y="723900"/>
            <a:ext cx="2233445" cy="3729567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A47366D2-2B01-4CEB-8C2A-D26C5A9E34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31066" y="2302934"/>
            <a:ext cx="2819400" cy="61912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CC64919-BDFF-4609-A74A-CBD67B438D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3133" y="723900"/>
            <a:ext cx="2358761" cy="385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90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xplication synthétique de la décision</a:t>
            </a:r>
          </a:p>
        </p:txBody>
      </p:sp>
      <p:sp>
        <p:nvSpPr>
          <p:cNvPr id="15" name="Flèche : gauche 14">
            <a:extLst>
              <a:ext uri="{FF2B5EF4-FFF2-40B4-BE49-F238E27FC236}">
                <a16:creationId xmlns:a16="http://schemas.microsoft.com/office/drawing/2014/main" id="{F36325D8-43CC-4D6A-816A-D53F53265107}"/>
              </a:ext>
            </a:extLst>
          </p:cNvPr>
          <p:cNvSpPr/>
          <p:nvPr/>
        </p:nvSpPr>
        <p:spPr>
          <a:xfrm>
            <a:off x="325966" y="3382218"/>
            <a:ext cx="3224843" cy="1329971"/>
          </a:xfrm>
          <a:prstGeom prst="lef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Diminution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de la probabilité de défaut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En faveur du client</a:t>
            </a:r>
          </a:p>
        </p:txBody>
      </p:sp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454F8B5D-8DA1-451E-8063-1F0FBA639016}"/>
              </a:ext>
            </a:extLst>
          </p:cNvPr>
          <p:cNvSpPr/>
          <p:nvPr/>
        </p:nvSpPr>
        <p:spPr>
          <a:xfrm>
            <a:off x="3566949" y="3382219"/>
            <a:ext cx="4942978" cy="1329972"/>
          </a:xfrm>
          <a:prstGeom prst="rightArrow">
            <a:avLst/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Augmentation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de la probabilité de défaut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En défaveur du cli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63F28F7-1BC9-4535-BABF-C44778825B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106" y="783203"/>
            <a:ext cx="8302206" cy="2599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11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xplications détaillées de la décision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92FF197-D211-470E-AA50-6382F52273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7726" y="720254"/>
            <a:ext cx="5951532" cy="156151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FE5448A-0143-479D-BC07-EA9C614C1B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78" y="2520831"/>
            <a:ext cx="8732227" cy="129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4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711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blématique et jeu de donnée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84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22"/>
          <p:cNvSpPr txBox="1">
            <a:spLocks/>
          </p:cNvSpPr>
          <p:nvPr/>
        </p:nvSpPr>
        <p:spPr bwMode="auto">
          <a:xfrm>
            <a:off x="342106" y="1146412"/>
            <a:ext cx="8459788" cy="340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ffre des crédits à la consommation de la société financière 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« 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êt à dépenser »</a:t>
            </a: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lématique</a:t>
            </a:r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0" lvl="1" indent="0">
              <a:buNone/>
            </a:pPr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tomatiser la décision de crédit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en se basant sur outil de “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cor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crédit” qui évalue la probabilité de faillite du client à partir de ses données (comportementales, provenant d’autres institutions financières, etc..)</a:t>
            </a: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ermettre au chargé de relation d’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xpliquer 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a décision 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 client à l’aide ses informations personnelles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grâce à un tableau de bord</a:t>
            </a:r>
          </a:p>
          <a:p>
            <a:pPr marL="360363" lvl="1" indent="0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dirty="0">
              <a:solidFill>
                <a:srgbClr val="FF0000"/>
              </a:solidFill>
              <a:latin typeface="+mn-lt"/>
              <a:cs typeface="+mn-cs"/>
            </a:endParaRP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oblématique</a:t>
            </a:r>
            <a:endParaRPr lang="fr-FR" altLang="fr-FR" sz="20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8AB9872-EBF0-4C8C-B5F6-FF847A0724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9228" y="749300"/>
            <a:ext cx="1362666" cy="1258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u jeu de données</a:t>
            </a:r>
            <a:endParaRPr lang="fr-FR" altLang="fr-FR" sz="20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47B4B3E-505C-4876-B651-37B3C326E930}"/>
              </a:ext>
            </a:extLst>
          </p:cNvPr>
          <p:cNvSpPr txBox="1"/>
          <p:nvPr/>
        </p:nvSpPr>
        <p:spPr>
          <a:xfrm>
            <a:off x="4608147" y="243007"/>
            <a:ext cx="25442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</a:pPr>
            <a:r>
              <a:rPr lang="fr-FR" sz="1000" dirty="0">
                <a:hlinkClick r:id="rId7"/>
              </a:rPr>
              <a:t>Lien vers le jeu de donnée sous </a:t>
            </a:r>
            <a:r>
              <a:rPr lang="fr-FR" sz="1000" dirty="0" err="1">
                <a:hlinkClick r:id="rId7"/>
              </a:rPr>
              <a:t>Kaggle</a:t>
            </a:r>
            <a:endParaRPr lang="fr-FR" sz="1000" dirty="0"/>
          </a:p>
        </p:txBody>
      </p:sp>
      <p:graphicFrame>
        <p:nvGraphicFramePr>
          <p:cNvPr id="3" name="Tableau 3">
            <a:extLst>
              <a:ext uri="{FF2B5EF4-FFF2-40B4-BE49-F238E27FC236}">
                <a16:creationId xmlns:a16="http://schemas.microsoft.com/office/drawing/2014/main" id="{0B9F154B-A6E0-4E05-A0B5-02D5F6603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358933"/>
              </p:ext>
            </p:extLst>
          </p:nvPr>
        </p:nvGraphicFramePr>
        <p:xfrm>
          <a:off x="342107" y="695461"/>
          <a:ext cx="8459788" cy="27584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98198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1478499">
                  <a:extLst>
                    <a:ext uri="{9D8B030D-6E8A-4147-A177-3AD203B41FA5}">
                      <a16:colId xmlns:a16="http://schemas.microsoft.com/office/drawing/2014/main" val="3164589009"/>
                    </a:ext>
                  </a:extLst>
                </a:gridCol>
                <a:gridCol w="4148831">
                  <a:extLst>
                    <a:ext uri="{9D8B030D-6E8A-4147-A177-3AD203B41FA5}">
                      <a16:colId xmlns:a16="http://schemas.microsoft.com/office/drawing/2014/main" val="2289516624"/>
                    </a:ext>
                  </a:extLst>
                </a:gridCol>
                <a:gridCol w="1086171">
                  <a:extLst>
                    <a:ext uri="{9D8B030D-6E8A-4147-A177-3AD203B41FA5}">
                      <a16:colId xmlns:a16="http://schemas.microsoft.com/office/drawing/2014/main" val="2741378558"/>
                    </a:ext>
                  </a:extLst>
                </a:gridCol>
                <a:gridCol w="1448089">
                  <a:extLst>
                    <a:ext uri="{9D8B030D-6E8A-4147-A177-3AD203B41FA5}">
                      <a16:colId xmlns:a16="http://schemas.microsoft.com/office/drawing/2014/main" val="658906383"/>
                    </a:ext>
                  </a:extLst>
                </a:gridCol>
              </a:tblGrid>
              <a:tr h="189797">
                <a:tc>
                  <a:txBody>
                    <a:bodyPr/>
                    <a:lstStyle/>
                    <a:p>
                      <a:endParaRPr lang="fr-FR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Fich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Descri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For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Clé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0" i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1" dirty="0">
                          <a:solidFill>
                            <a:schemeClr val="tx1"/>
                          </a:solidFill>
                        </a:rPr>
                        <a:t>HomeCredit_columns_description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Descriptions des variables des autres fichiers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219, 5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Table, Row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sample_submission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noProof="0" dirty="0">
                          <a:solidFill>
                            <a:schemeClr val="tx1"/>
                          </a:solidFill>
                        </a:rPr>
                        <a:t>Variable TARGET initialisée à 0,5 pour </a:t>
                      </a: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application_test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48 744, 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936073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pplication_train.csv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Nouvelle demande de prêt adressée à « Prêt à dépenser » pour entraînement</a:t>
                      </a:r>
                    </a:p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Variable TARGET d’accord ou non du prêt</a:t>
                      </a:r>
                      <a:endParaRPr lang="fr-FR" sz="600" b="1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07 511, 122</a:t>
                      </a:r>
                    </a:p>
                    <a:p>
                      <a:pPr algn="r"/>
                      <a:r>
                        <a:rPr lang="fr-FR" sz="600" b="1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2 manquant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042386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pplication_test.csv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Nouvelle demande de prêt adressée à « Prêt à dépenser » pour test</a:t>
                      </a:r>
                    </a:p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bsence de la variable TARGET</a:t>
                      </a:r>
                      <a:endParaRPr lang="fr-FR" sz="600" b="1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48 744, 121</a:t>
                      </a:r>
                    </a:p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64 manquant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926121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reau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rédits déjà octroyés et reporté par </a:t>
                      </a:r>
                      <a:r>
                        <a:rPr lang="fr-FR" sz="600" b="0" i="0" kern="12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dit</a:t>
                      </a:r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 716 428, 17</a:t>
                      </a:r>
                    </a:p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7 manquant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, SK_ID_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353360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reau_balance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balances mensuelles pour les crédits déjà octroyés et reporté par </a:t>
                      </a:r>
                      <a:r>
                        <a:rPr lang="fr-FR" sz="6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</a:t>
                      </a:r>
                      <a:r>
                        <a:rPr lang="fr-FR" sz="600" b="0" i="0" kern="12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it</a:t>
                      </a:r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7 299 925, 3</a:t>
                      </a:r>
                    </a:p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0 manquant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BUREAU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498223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7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previous_application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Demandes de prêts adressées à 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« Prêt à dépenser »</a:t>
                      </a: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antérieurement à la nouvelle demande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 670 214, 37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6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363192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installments_payments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échéances passées payées ou non pour les prêts antérieurs souscrit auprès de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3 605 401, 8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05207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_CASH_balance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</a:t>
                      </a:r>
                      <a:r>
                        <a:rPr lang="en-US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des balances </a:t>
                      </a:r>
                      <a:r>
                        <a:rPr lang="fr-FR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mensuelles d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es prêts antérieurs souscrit auprès de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0 001 358, 8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042520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redit_card_balance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balances mensuelles des cartes de crédit délivrées par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 840 312, 23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9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113757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5AC23967-5318-49F6-8979-3EBCAEB855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2701" y="2098275"/>
            <a:ext cx="3909192" cy="2464196"/>
          </a:xfrm>
          <a:prstGeom prst="rect">
            <a:avLst/>
          </a:prstGeom>
        </p:spPr>
      </p:pic>
      <p:sp>
        <p:nvSpPr>
          <p:cNvPr id="7" name="Espace réservé du contenu 22">
            <a:extLst>
              <a:ext uri="{FF2B5EF4-FFF2-40B4-BE49-F238E27FC236}">
                <a16:creationId xmlns:a16="http://schemas.microsoft.com/office/drawing/2014/main" id="{A0B80D2F-CA2B-4F7B-996F-059AFFD1DA17}"/>
              </a:ext>
            </a:extLst>
          </p:cNvPr>
          <p:cNvSpPr txBox="1">
            <a:spLocks/>
          </p:cNvSpPr>
          <p:nvPr/>
        </p:nvSpPr>
        <p:spPr bwMode="auto">
          <a:xfrm>
            <a:off x="342106" y="3879542"/>
            <a:ext cx="4296663" cy="673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signe de s’aider d’un kernel sous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pour faciliter la préparation des donné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xplication de l’approche de modélisation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611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69C7DA6-26A8-401C-B532-D287D01B7A38}"/>
              </a:ext>
            </a:extLst>
          </p:cNvPr>
          <p:cNvSpPr txBox="1"/>
          <p:nvPr/>
        </p:nvSpPr>
        <p:spPr>
          <a:xfrm>
            <a:off x="1108161" y="1740726"/>
            <a:ext cx="2667504" cy="239824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400" dirty="0"/>
              <a:t>Fichiers csv, Code python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Vision globale</a:t>
            </a:r>
            <a:endParaRPr lang="en-US" altLang="fr-FR" sz="2000" dirty="0"/>
          </a:p>
        </p:txBody>
      </p:sp>
      <p:sp>
        <p:nvSpPr>
          <p:cNvPr id="12" name="Espace réservé du contenu 22">
            <a:extLst>
              <a:ext uri="{FF2B5EF4-FFF2-40B4-BE49-F238E27FC236}">
                <a16:creationId xmlns:a16="http://schemas.microsoft.com/office/drawing/2014/main" id="{9520B281-827E-4927-A43C-D4C1EF7B94C9}"/>
              </a:ext>
            </a:extLst>
          </p:cNvPr>
          <p:cNvSpPr txBox="1">
            <a:spLocks/>
          </p:cNvSpPr>
          <p:nvPr/>
        </p:nvSpPr>
        <p:spPr bwMode="auto">
          <a:xfrm>
            <a:off x="342105" y="2278995"/>
            <a:ext cx="4199616" cy="9764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er les kernels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Nettoyer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richir avec de nouvelles variabl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duire les dimensions de 2 manières différentes</a:t>
            </a:r>
          </a:p>
        </p:txBody>
      </p:sp>
      <p:sp>
        <p:nvSpPr>
          <p:cNvPr id="14" name="Espace réservé du contenu 22">
            <a:extLst>
              <a:ext uri="{FF2B5EF4-FFF2-40B4-BE49-F238E27FC236}">
                <a16:creationId xmlns:a16="http://schemas.microsoft.com/office/drawing/2014/main" id="{474F1ED5-C06D-474B-BE15-21281E607EA5}"/>
              </a:ext>
            </a:extLst>
          </p:cNvPr>
          <p:cNvSpPr txBox="1">
            <a:spLocks/>
          </p:cNvSpPr>
          <p:nvPr/>
        </p:nvSpPr>
        <p:spPr bwMode="auto">
          <a:xfrm>
            <a:off x="342106" y="798010"/>
            <a:ext cx="4199615" cy="8414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 partir de </a:t>
            </a:r>
            <a:r>
              <a:rPr lang="fr-FR" sz="1100" b="1" u="sng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endParaRPr lang="fr-FR" sz="1100" b="1" u="sng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cupérer les donné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électionner les kernels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5CC65889-49B2-4194-B58B-3F371EEB2D4A}"/>
              </a:ext>
            </a:extLst>
          </p:cNvPr>
          <p:cNvSpPr txBox="1">
            <a:spLocks/>
          </p:cNvSpPr>
          <p:nvPr/>
        </p:nvSpPr>
        <p:spPr bwMode="auto">
          <a:xfrm>
            <a:off x="5431899" y="3303343"/>
            <a:ext cx="3376039" cy="116878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le tableau de bord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velopper des  graphes 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ettre en page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une navigation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Espace réservé du contenu 22">
            <a:extLst>
              <a:ext uri="{FF2B5EF4-FFF2-40B4-BE49-F238E27FC236}">
                <a16:creationId xmlns:a16="http://schemas.microsoft.com/office/drawing/2014/main" id="{39E21906-E875-4A69-AAA5-C5172B894338}"/>
              </a:ext>
            </a:extLst>
          </p:cNvPr>
          <p:cNvSpPr txBox="1">
            <a:spLocks/>
          </p:cNvSpPr>
          <p:nvPr/>
        </p:nvSpPr>
        <p:spPr bwMode="auto">
          <a:xfrm>
            <a:off x="5431899" y="1975890"/>
            <a:ext cx="3376039" cy="93607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tx1"/>
                </a:solidFill>
              </a:rPr>
              <a:t>Publier le tableau de bord interactif sur le Cloud</a:t>
            </a:r>
          </a:p>
          <a:p>
            <a:pPr marL="0" lvl="1" indent="0" algn="ctr">
              <a:buNone/>
            </a:pPr>
            <a:endParaRPr lang="fr-FR" sz="1100" b="1" u="sng" dirty="0">
              <a:solidFill>
                <a:schemeClr val="tx1"/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tx1"/>
                </a:solidFill>
              </a:rPr>
              <a:t>Relier </a:t>
            </a:r>
            <a:r>
              <a:rPr lang="fr-FR" sz="1100" dirty="0" err="1">
                <a:solidFill>
                  <a:schemeClr val="tx1"/>
                </a:solidFill>
              </a:rPr>
              <a:t>Streamlit</a:t>
            </a:r>
            <a:r>
              <a:rPr lang="fr-FR" sz="1100" dirty="0">
                <a:solidFill>
                  <a:schemeClr val="tx1"/>
                </a:solidFill>
              </a:rPr>
              <a:t> Cloud à GitHub</a:t>
            </a:r>
          </a:p>
          <a:p>
            <a:pPr marL="171450" lvl="1" indent="-171450"/>
            <a:r>
              <a:rPr lang="fr-FR" sz="1100" dirty="0">
                <a:solidFill>
                  <a:schemeClr val="tx1"/>
                </a:solidFill>
              </a:rPr>
              <a:t>Générer et publier le tableau de bord interactif sur le Cloud</a:t>
            </a:r>
          </a:p>
        </p:txBody>
      </p:sp>
      <p:sp>
        <p:nvSpPr>
          <p:cNvPr id="17" name="Triangle isocèle 16">
            <a:extLst>
              <a:ext uri="{FF2B5EF4-FFF2-40B4-BE49-F238E27FC236}">
                <a16:creationId xmlns:a16="http://schemas.microsoft.com/office/drawing/2014/main" id="{B0D93650-28A0-4D58-A9C6-BE603632DCEB}"/>
              </a:ext>
            </a:extLst>
          </p:cNvPr>
          <p:cNvSpPr/>
          <p:nvPr/>
        </p:nvSpPr>
        <p:spPr>
          <a:xfrm rot="10800000">
            <a:off x="1541488" y="2034424"/>
            <a:ext cx="1788739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9" name="Triangle isocèle 18">
            <a:extLst>
              <a:ext uri="{FF2B5EF4-FFF2-40B4-BE49-F238E27FC236}">
                <a16:creationId xmlns:a16="http://schemas.microsoft.com/office/drawing/2014/main" id="{9318B485-2715-42E5-A4B1-0CB401B7659E}"/>
              </a:ext>
            </a:extLst>
          </p:cNvPr>
          <p:cNvSpPr/>
          <p:nvPr/>
        </p:nvSpPr>
        <p:spPr>
          <a:xfrm>
            <a:off x="6239160" y="3001948"/>
            <a:ext cx="1788739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0" name="Espace réservé du contenu 22">
            <a:extLst>
              <a:ext uri="{FF2B5EF4-FFF2-40B4-BE49-F238E27FC236}">
                <a16:creationId xmlns:a16="http://schemas.microsoft.com/office/drawing/2014/main" id="{347E30CC-2571-4D9D-AB5E-6D7CEFBB9821}"/>
              </a:ext>
            </a:extLst>
          </p:cNvPr>
          <p:cNvSpPr txBox="1">
            <a:spLocks/>
          </p:cNvSpPr>
          <p:nvPr/>
        </p:nvSpPr>
        <p:spPr bwMode="auto">
          <a:xfrm>
            <a:off x="342105" y="3303346"/>
            <a:ext cx="4199616" cy="11687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velopper le modèle de score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quilibrer les class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finir une fonction de coût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le modèle qui minimise le mieux la fonction de coût sans sur-apprentissage et avec une bonne généralisation</a:t>
            </a:r>
          </a:p>
          <a:p>
            <a:pPr marL="171450" lvl="1" indent="-171450">
              <a:buFontTx/>
              <a:buChar char="-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Espace réservé du contenu 22">
            <a:extLst>
              <a:ext uri="{FF2B5EF4-FFF2-40B4-BE49-F238E27FC236}">
                <a16:creationId xmlns:a16="http://schemas.microsoft.com/office/drawing/2014/main" id="{15F51ED8-B33B-4B61-BBA4-69B7E0BB3D58}"/>
              </a:ext>
            </a:extLst>
          </p:cNvPr>
          <p:cNvSpPr txBox="1">
            <a:spLocks/>
          </p:cNvSpPr>
          <p:nvPr/>
        </p:nvSpPr>
        <p:spPr bwMode="auto">
          <a:xfrm>
            <a:off x="5425850" y="989962"/>
            <a:ext cx="3376041" cy="2818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Jupyter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Framework de développement sous python</a:t>
            </a:r>
          </a:p>
          <a:p>
            <a:pPr marL="0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it, GitHub: Plateforme  de développement collaborative</a:t>
            </a:r>
          </a:p>
        </p:txBody>
      </p:sp>
      <p:sp>
        <p:nvSpPr>
          <p:cNvPr id="23" name="Espace réservé du contenu 22">
            <a:extLst>
              <a:ext uri="{FF2B5EF4-FFF2-40B4-BE49-F238E27FC236}">
                <a16:creationId xmlns:a16="http://schemas.microsoft.com/office/drawing/2014/main" id="{327D041B-D517-47B5-90BA-FE5A7AE4B24A}"/>
              </a:ext>
            </a:extLst>
          </p:cNvPr>
          <p:cNvSpPr txBox="1">
            <a:spLocks/>
          </p:cNvSpPr>
          <p:nvPr/>
        </p:nvSpPr>
        <p:spPr bwMode="auto">
          <a:xfrm>
            <a:off x="5425852" y="743484"/>
            <a:ext cx="3376039" cy="2177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Plateforme de partage utilisée par la communauté des Data Scientists</a:t>
            </a:r>
          </a:p>
        </p:txBody>
      </p:sp>
      <p:sp>
        <p:nvSpPr>
          <p:cNvPr id="24" name="Espace réservé du contenu 22">
            <a:extLst>
              <a:ext uri="{FF2B5EF4-FFF2-40B4-BE49-F238E27FC236}">
                <a16:creationId xmlns:a16="http://schemas.microsoft.com/office/drawing/2014/main" id="{B7901120-796D-4EE0-91B3-C6F2B1B6E31C}"/>
              </a:ext>
            </a:extLst>
          </p:cNvPr>
          <p:cNvSpPr txBox="1">
            <a:spLocks/>
          </p:cNvSpPr>
          <p:nvPr/>
        </p:nvSpPr>
        <p:spPr bwMode="auto">
          <a:xfrm>
            <a:off x="5425850" y="1300521"/>
            <a:ext cx="3376043" cy="15880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treamli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</a:t>
            </a:r>
            <a:r>
              <a:rPr lang="fr-FR" sz="800" kern="12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Framework de développement de tableaux de bords</a:t>
            </a:r>
          </a:p>
          <a:p>
            <a:pPr marL="0" lvl="1" indent="0">
              <a:buNone/>
            </a:pPr>
            <a:endParaRPr lang="fr-FR" sz="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riangle isocèle 24">
            <a:extLst>
              <a:ext uri="{FF2B5EF4-FFF2-40B4-BE49-F238E27FC236}">
                <a16:creationId xmlns:a16="http://schemas.microsoft.com/office/drawing/2014/main" id="{133697ED-97B5-4AFF-9C34-FE0EB49FF2F6}"/>
              </a:ext>
            </a:extLst>
          </p:cNvPr>
          <p:cNvSpPr/>
          <p:nvPr/>
        </p:nvSpPr>
        <p:spPr>
          <a:xfrm rot="5400000">
            <a:off x="4593672" y="3807235"/>
            <a:ext cx="1168781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0995CFA0-A8B0-41CD-9426-189C8EB932A6}"/>
              </a:ext>
            </a:extLst>
          </p:cNvPr>
          <p:cNvSpPr txBox="1"/>
          <p:nvPr/>
        </p:nvSpPr>
        <p:spPr>
          <a:xfrm rot="16200000">
            <a:off x="4334546" y="3767887"/>
            <a:ext cx="1168781" cy="239698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400" dirty="0"/>
              <a:t>Fichiers csv</a:t>
            </a:r>
          </a:p>
        </p:txBody>
      </p:sp>
      <p:sp>
        <p:nvSpPr>
          <p:cNvPr id="27" name="Espace réservé du contenu 22">
            <a:extLst>
              <a:ext uri="{FF2B5EF4-FFF2-40B4-BE49-F238E27FC236}">
                <a16:creationId xmlns:a16="http://schemas.microsoft.com/office/drawing/2014/main" id="{FB5E06FA-EDBF-4665-9669-775EF58EF58F}"/>
              </a:ext>
            </a:extLst>
          </p:cNvPr>
          <p:cNvSpPr txBox="1">
            <a:spLocks/>
          </p:cNvSpPr>
          <p:nvPr/>
        </p:nvSpPr>
        <p:spPr bwMode="auto">
          <a:xfrm>
            <a:off x="5425848" y="1488028"/>
            <a:ext cx="3376043" cy="15880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tx1"/>
                </a:solidFill>
              </a:rPr>
              <a:t>Streamlit</a:t>
            </a:r>
            <a:r>
              <a:rPr lang="fr-FR" sz="800" dirty="0">
                <a:solidFill>
                  <a:schemeClr val="tx1"/>
                </a:solidFill>
              </a:rPr>
              <a:t> Cloud: Hébergement de tableaux de bords</a:t>
            </a:r>
          </a:p>
        </p:txBody>
      </p:sp>
    </p:spTree>
    <p:extLst>
      <p:ext uri="{BB962C8B-B14F-4D97-AF65-F5344CB8AC3E}">
        <p14:creationId xmlns:p14="http://schemas.microsoft.com/office/powerpoint/2010/main" val="37531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1548017"/>
            <a:ext cx="8459788" cy="2178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Jeu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très déséquilibré avec 8,1% d’individus en défaut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quilibrer les classes</a:t>
            </a:r>
            <a:endParaRPr lang="en-US" altLang="fr-FR" sz="2000" dirty="0"/>
          </a:p>
        </p:txBody>
      </p:sp>
      <p:graphicFrame>
        <p:nvGraphicFramePr>
          <p:cNvPr id="3" name="Tableau 3">
            <a:extLst>
              <a:ext uri="{FF2B5EF4-FFF2-40B4-BE49-F238E27FC236}">
                <a16:creationId xmlns:a16="http://schemas.microsoft.com/office/drawing/2014/main" id="{8A3111F0-3BAB-4155-B8E1-B37D29F36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267455"/>
              </p:ext>
            </p:extLst>
          </p:nvPr>
        </p:nvGraphicFramePr>
        <p:xfrm>
          <a:off x="3387671" y="2179841"/>
          <a:ext cx="5414223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5834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1304988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  <a:gridCol w="1023401">
                  <a:extLst>
                    <a:ext uri="{9D8B030D-6E8A-4147-A177-3AD203B41FA5}">
                      <a16:colId xmlns:a16="http://schemas.microsoft.com/office/drawing/2014/main" val="2217606141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’individu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Part des défaut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rès suppression de 20% pour jeu de validation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46 00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1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chantillonnage aléatoire de 5 000 individu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 00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1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MOTE  a</a:t>
                      </a:r>
                      <a:r>
                        <a:rPr lang="fr-FR" sz="10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vec « </a:t>
                      </a:r>
                      <a:r>
                        <a:rPr lang="fr-FR" sz="10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ampling_strategy</a:t>
                      </a:r>
                      <a:r>
                        <a:rPr lang="fr-FR" sz="10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» = 1.0</a:t>
                      </a:r>
                      <a:endParaRPr lang="fr-FR" sz="1000" kern="12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 19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524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90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contenu 22">
                <a:extLst>
                  <a:ext uri="{FF2B5EF4-FFF2-40B4-BE49-F238E27FC236}">
                    <a16:creationId xmlns:a16="http://schemas.microsoft.com/office/drawing/2014/main" id="{80C0405A-3AB6-468A-97EB-7613CDDED00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42106" y="740833"/>
                <a:ext cx="8459788" cy="38121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rgbClr val="D2DCAA"/>
                  </a:buClr>
                  <a:buSzPct val="100000"/>
                  <a:defRPr sz="1600" b="1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300656" indent="-153396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accent4"/>
                  </a:buClr>
                  <a:buSzPct val="90000"/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616652" indent="-150328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accent4"/>
                  </a:buClr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923444" indent="-144192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bg2"/>
                  </a:buClr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2706" indent="4059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defRPr sz="900" kern="120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lvl5pPr>
                <a:lvl6pPr marL="2142942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32568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22194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1820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531813" lvl="1" indent="-171450">
                  <a:buFont typeface="Wingdings" panose="05000000000000000000" pitchFamily="2" charset="2"/>
                  <a:buChar char="ü"/>
                </a:pPr>
                <a:endParaRPr lang="en-US" sz="1100" b="1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Pour comparer les modèles et optimiser le meilleur d’entre eux sur chacun des 2 jeu de données et in fine choisir la meilleure combinaison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En lien avec l’objectif métier explicite: Réduire les refus sur les bonnes demandes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Objectif métier implicite: Minimiser les accords sur les mauvaises demandes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Définition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Pénaliser 2 fois plus les refus sur les bonnes demandes que les accords sur les mauvaises demandes 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Donner du sens au coût pour le métier en introduisant une proportionnalité au montant de la demande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983151" lvl="3" indent="0">
                  <a:buNone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	</a:t>
                </a:r>
              </a:p>
              <a:p>
                <a:pPr marL="983151" lvl="3" indent="0">
                  <a:buNone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	Fonction de coût métier = 0.6% 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grow m:val="on"/>
                        <m:ctrlPr>
                          <a:rPr lang="fr-FR" sz="1100" i="1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FN</m:t>
                        </m:r>
                      </m:sub>
                      <m:sup/>
                      <m:e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ontant</m:t>
                        </m:r>
                        <m: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demande</m:t>
                        </m:r>
                      </m:e>
                    </m:nary>
                  </m:oMath>
                </a14:m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 + 0.6% 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grow m:val="on"/>
                        <m:ctrlPr>
                          <a:rPr lang="fr-FR" sz="1100" i="1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FP</m:t>
                        </m:r>
                      </m:sub>
                      <m:sup/>
                      <m:e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ontant</m:t>
                        </m:r>
                        <m: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demande</m:t>
                        </m:r>
                      </m:e>
                    </m:nary>
                  </m:oMath>
                </a14:m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Si besoin, possibilité de se comparer avec la compétition </a:t>
                </a:r>
                <a:r>
                  <a:rPr lang="fr-FR" sz="1100" dirty="0" err="1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Kaggle</a:t>
                </a: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 : Aire sous la courbe ROC (AUROC)</a:t>
                </a:r>
              </a:p>
              <a:p>
                <a:pPr marL="360363" lvl="1" indent="0">
                  <a:buNone/>
                </a:pPr>
                <a:endParaRPr lang="fr-FR" sz="1100" b="1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6" name="Espace réservé du contenu 22">
                <a:extLst>
                  <a:ext uri="{FF2B5EF4-FFF2-40B4-BE49-F238E27FC236}">
                    <a16:creationId xmlns:a16="http://schemas.microsoft.com/office/drawing/2014/main" id="{80C0405A-3AB6-468A-97EB-7613CDDED0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42106" y="740833"/>
                <a:ext cx="8459788" cy="381211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Définir une fonction de coût</a:t>
            </a:r>
            <a:endParaRPr lang="en-US" altLang="fr-FR" sz="2000" dirty="0"/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DDE210F-27E4-413A-A217-1390EBAEBE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977944"/>
              </p:ext>
            </p:extLst>
          </p:nvPr>
        </p:nvGraphicFramePr>
        <p:xfrm>
          <a:off x="2174007" y="2832428"/>
          <a:ext cx="5828544" cy="8518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8017">
                  <a:extLst>
                    <a:ext uri="{9D8B030D-6E8A-4147-A177-3AD203B41FA5}">
                      <a16:colId xmlns:a16="http://schemas.microsoft.com/office/drawing/2014/main" val="1966124211"/>
                    </a:ext>
                  </a:extLst>
                </a:gridCol>
                <a:gridCol w="2316278">
                  <a:extLst>
                    <a:ext uri="{9D8B030D-6E8A-4147-A177-3AD203B41FA5}">
                      <a16:colId xmlns:a16="http://schemas.microsoft.com/office/drawing/2014/main" val="2613701007"/>
                    </a:ext>
                  </a:extLst>
                </a:gridCol>
                <a:gridCol w="2204249">
                  <a:extLst>
                    <a:ext uri="{9D8B030D-6E8A-4147-A177-3AD203B41FA5}">
                      <a16:colId xmlns:a16="http://schemas.microsoft.com/office/drawing/2014/main" val="2767110996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Combinaisons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effectLst/>
                        </a:rPr>
                        <a:t>Coût individuel en M€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1033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Faux négatif (FN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fus d’une bonn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.6% du montant de la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02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Vrai négatif (TN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ccord d’une bonn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7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Faux positif (FP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ccord d’une mauvais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.3% du montant de la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9759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Vrai positif (TP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fus d’une mauvais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988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776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0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Diapositive 1&quot;/&gt;&lt;property id=&quot;20307&quot; value=&quot;272&quot;/&gt;&lt;/object&gt;&lt;object type=&quot;3&quot; unique_id=&quot;10004&quot;&gt;&lt;property id=&quot;20148&quot; value=&quot;5&quot;/&gt;&lt;property id=&quot;20300&quot; value=&quot;Diapositive 2&quot;/&gt;&lt;property id=&quot;20307&quot; value=&quot;273&quot;/&gt;&lt;/object&gt;&lt;object type=&quot;3&quot; unique_id=&quot;10005&quot;&gt;&lt;property id=&quot;20148&quot; value=&quot;5&quot;/&gt;&lt;property id=&quot;20300&quot; value=&quot;Diapositive 3&quot;/&gt;&lt;property id=&quot;20307&quot; value=&quot;274&quot;/&gt;&lt;/object&gt;&lt;object type=&quot;3&quot; unique_id=&quot;10006&quot;&gt;&lt;property id=&quot;20148&quot; value=&quot;5&quot;/&gt;&lt;property id=&quot;20300&quot; value=&quot;Diapositive 4&quot;/&gt;&lt;property id=&quot;20307&quot; value=&quot;275&quot;/&gt;&lt;/object&gt;&lt;object type=&quot;3&quot; unique_id=&quot;10007&quot;&gt;&lt;property id=&quot;20148&quot; value=&quot;5&quot;/&gt;&lt;property id=&quot;20300&quot; value=&quot;Diapositive 5&quot;/&gt;&lt;property id=&quot;20307&quot; value=&quot;261&quot;/&gt;&lt;/object&gt;&lt;object type=&quot;3&quot; unique_id=&quot;10008&quot;&gt;&lt;property id=&quot;20148&quot; value=&quot;5&quot;/&gt;&lt;property id=&quot;20300&quot; value=&quot;Diapositive 6&quot;/&gt;&lt;property id=&quot;20307&quot; value=&quot;259&quot;/&gt;&lt;/object&gt;&lt;object type=&quot;3&quot; unique_id=&quot;10009&quot;&gt;&lt;property id=&quot;20148&quot; value=&quot;5&quot;/&gt;&lt;property id=&quot;20300&quot; value=&quot;Diapositive 7 - &amp;quot;Palette des couleurs&amp;quot;&quot;/&gt;&lt;property id=&quot;20307&quot; value=&quot;262&quot;/&gt;&lt;/object&gt;&lt;object type=&quot;3&quot; unique_id=&quot;10010&quot;&gt;&lt;property id=&quot;20148&quot; value=&quot;5&quot;/&gt;&lt;property id=&quot;20300&quot; value=&quot;Diapositive 8 - &amp;quot;Graphiques barres&amp;quot;&quot;/&gt;&lt;property id=&quot;20307&quot; value=&quot;263&quot;/&gt;&lt;/object&gt;&lt;object type=&quot;3&quot; unique_id=&quot;10011&quot;&gt;&lt;property id=&quot;20148&quot; value=&quot;5&quot;/&gt;&lt;property id=&quot;20300&quot; value=&quot;Diapositive 9 - &amp;quot;Graphiques anneaux&amp;quot;&quot;/&gt;&lt;property id=&quot;20307&quot; value=&quot;269&quot;/&gt;&lt;/object&gt;&lt;object type=&quot;3&quot; unique_id=&quot;10012&quot;&gt;&lt;property id=&quot;20148&quot; value=&quot;5&quot;/&gt;&lt;property id=&quot;20300&quot; value=&quot;Diapositive 10 - &amp;quot;Graphiques courbes&amp;quot;&quot;/&gt;&lt;property id=&quot;20307&quot; value=&quot;270&quot;/&gt;&lt;/object&gt;&lt;object type=&quot;3&quot; unique_id=&quot;10013&quot;&gt;&lt;property id=&quot;20148&quot; value=&quot;5&quot;/&gt;&lt;property id=&quot;20300&quot; value=&quot;Diapositive 11 - &amp;quot;Modèle tableau&amp;quot;&quot;/&gt;&lt;property id=&quot;20307&quot; value=&quot;266&quot;/&gt;&lt;/object&gt;&lt;object type=&quot;3&quot; unique_id=&quot;10014&quot;&gt;&lt;property id=&quot;20148&quot; value=&quot;5&quot;/&gt;&lt;property id=&quot;20300&quot; value=&quot;Diapositive 12 - &amp;quot;Modèle tableau&amp;quot;&quot;/&gt;&lt;property id=&quot;20307&quot; value=&quot;267&quot;/&gt;&lt;/object&gt;&lt;object type=&quot;3&quot; unique_id=&quot;10015&quot;&gt;&lt;property id=&quot;20148&quot; value=&quot;5&quot;/&gt;&lt;property id=&quot;20300&quot; value=&quot;Diapositive 13 - &amp;quot;Modèle tableau&amp;quot;&quot;/&gt;&lt;property id=&quot;20307&quot; value=&quot;268&quot;/&gt;&lt;/object&gt;&lt;object type=&quot;3&quot; unique_id=&quot;10016&quot;&gt;&lt;property id=&quot;20148&quot; value=&quot;5&quot;/&gt;&lt;property id=&quot;20300&quot; value=&quot;Diapositive 14&quot;/&gt;&lt;property id=&quot;20307&quot; value=&quot;260&quot;/&gt;&lt;/object&gt;&lt;/object&gt;&lt;object type=&quot;8&quot; unique_id=&quot;10032&quot;&gt;&lt;/object&gt;&lt;/object&gt;&lt;/database&gt;"/>
  <p:tag name="MMPROD_NEXTUNIQUEID" val="10009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NPP_LS_FR">
  <a:themeElements>
    <a:clrScheme name="BNPP Colors">
      <a:dk1>
        <a:srgbClr val="262626"/>
      </a:dk1>
      <a:lt1>
        <a:srgbClr val="FFFFFF"/>
      </a:lt1>
      <a:dk2>
        <a:srgbClr val="939598"/>
      </a:dk2>
      <a:lt2>
        <a:srgbClr val="D9D9D9"/>
      </a:lt2>
      <a:accent1>
        <a:srgbClr val="00A76C"/>
      </a:accent1>
      <a:accent2>
        <a:srgbClr val="82A44A"/>
      </a:accent2>
      <a:accent3>
        <a:srgbClr val="DCDC1E"/>
      </a:accent3>
      <a:accent4>
        <a:srgbClr val="6473AF"/>
      </a:accent4>
      <a:accent5>
        <a:srgbClr val="4BC8DC"/>
      </a:accent5>
      <a:accent6>
        <a:srgbClr val="E6A01E"/>
      </a:accent6>
      <a:hlink>
        <a:srgbClr val="A0C873"/>
      </a:hlink>
      <a:folHlink>
        <a:srgbClr val="3C9146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defRPr sz="1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8ce7ac411142eaaa9ee602895d15c2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5b9a780f-1f60-4e32-a698-7a315b018f0e</TermId>
        </TermInfo>
      </Terms>
    </be8ce7ac411142eaaa9ee602895d15c2>
    <o2ecaa5e3f4241eaba012e918a54c2cb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5d009184-e54d-4e2b-b508-a2acabcee604</TermId>
        </TermInfo>
      </Terms>
    </o2ecaa5e3f4241eaba012e918a54c2cb>
    <TaxCatchAll xmlns="73aa9794-0401-4aa6-a485-b5a9c008d562">
      <Value>4</Value>
      <Value>6</Value>
    </TaxCatchAl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 Echonet" ma:contentTypeID="0x01010067D0F607CC83484B928954E5E3969E2A0018657DCD744D964BB2F81E3BCEE62253" ma:contentTypeVersion="4" ma:contentTypeDescription="" ma:contentTypeScope="" ma:versionID="f240278125c963779d6482975210da8c">
  <xsd:schema xmlns:xsd="http://www.w3.org/2001/XMLSchema" xmlns:xs="http://www.w3.org/2001/XMLSchema" xmlns:p="http://schemas.microsoft.com/office/2006/metadata/properties" xmlns:ns2="1aa2b875-8ce2-4ebd-8b53-f3df76935429" xmlns:ns3="73aa9794-0401-4aa6-a485-b5a9c008d562" xmlns:ns4="98ef04a3-fc4c-4d50-b5d8-b2286eca3b4e" targetNamespace="http://schemas.microsoft.com/office/2006/metadata/properties" ma:root="true" ma:fieldsID="d980f93b3e54aa30f7dc6a052ccaa00a" ns2:_="" ns3:_="" ns4:_="">
    <xsd:import namespace="1aa2b875-8ce2-4ebd-8b53-f3df76935429"/>
    <xsd:import namespace="73aa9794-0401-4aa6-a485-b5a9c008d562"/>
    <xsd:import namespace="98ef04a3-fc4c-4d50-b5d8-b2286eca3b4e"/>
    <xsd:element name="properties">
      <xsd:complexType>
        <xsd:sequence>
          <xsd:element name="documentManagement">
            <xsd:complexType>
              <xsd:all>
                <xsd:element ref="ns2:o2ecaa5e3f4241eaba012e918a54c2cb" minOccurs="0"/>
                <xsd:element ref="ns3:TaxCatchAll" minOccurs="0"/>
                <xsd:element ref="ns3:TaxCatchAllLabel" minOccurs="0"/>
                <xsd:element ref="ns2:be8ce7ac411142eaaa9ee602895d15c2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2b875-8ce2-4ebd-8b53-f3df76935429" elementFormDefault="qualified">
    <xsd:import namespace="http://schemas.microsoft.com/office/2006/documentManagement/types"/>
    <xsd:import namespace="http://schemas.microsoft.com/office/infopath/2007/PartnerControls"/>
    <xsd:element name="o2ecaa5e3f4241eaba012e918a54c2cb" ma:index="8" ma:taxonomy="true" ma:internalName="o2ecaa5e3f4241eaba012e918a54c2cb" ma:taxonomyFieldName="Country" ma:displayName="Country" ma:default="" ma:fieldId="{82ecaa5e-3f42-41ea-ba01-2e918a54c2cb}" ma:sspId="9ae47795-607f-4cd5-b4c6-b073d9f6add5" ma:termSetId="d9199f1d-ce3d-461e-bd66-b91e884d32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e8ce7ac411142eaaa9ee602895d15c2" ma:index="12" ma:taxonomy="true" ma:internalName="be8ce7ac411142eaaa9ee602895d15c2" ma:taxonomyFieldName="Function" ma:displayName="Function/BU" ma:default="" ma:fieldId="{be8ce7ac-4111-42ea-aa9e-e602895d15c2}" ma:taxonomyMulti="true" ma:sspId="9ae47795-607f-4cd5-b4c6-b073d9f6add5" ma:termSetId="e71d34d0-d208-4e30-86c5-ab71d14bb33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a9794-0401-4aa6-a485-b5a9c008d562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296ed707-4edf-4441-a9a6-b590754f300f}" ma:internalName="TaxCatchAll" ma:showField="CatchAllData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96ed707-4edf-4441-a9a6-b590754f300f}" ma:internalName="TaxCatchAllLabel" ma:readOnly="true" ma:showField="CatchAllDataLabel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f04a3-fc4c-4d50-b5d8-b2286eca3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1751BD-7432-4185-92C2-CCEBFF5E7B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4876A3-0764-4CB6-919C-513AFC2A0B4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5D6E90A-0CD7-4F2C-AF08-B8AFA336357E}">
  <ds:schemaRefs>
    <ds:schemaRef ds:uri="http://purl.org/dc/terms/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a2b875-8ce2-4ebd-8b53-f3df76935429"/>
    <ds:schemaRef ds:uri="http://purl.org/dc/elements/1.1/"/>
    <ds:schemaRef ds:uri="http://schemas.microsoft.com/office/2006/metadata/properties"/>
    <ds:schemaRef ds:uri="73aa9794-0401-4aa6-a485-b5a9c008d562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56C2CFE-09D4-482E-B990-450E50975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2b875-8ce2-4ebd-8b53-f3df76935429"/>
    <ds:schemaRef ds:uri="73aa9794-0401-4aa6-a485-b5a9c008d562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PP_LS_FR</Template>
  <TotalTime>29540</TotalTime>
  <Words>2083</Words>
  <Application>Microsoft Office PowerPoint</Application>
  <PresentationFormat>Affichage à l'écran (16:9)</PresentationFormat>
  <Paragraphs>427</Paragraphs>
  <Slides>27</Slides>
  <Notes>26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7</vt:i4>
      </vt:variant>
    </vt:vector>
  </HeadingPairs>
  <TitlesOfParts>
    <vt:vector size="34" baseType="lpstr">
      <vt:lpstr>Arial</vt:lpstr>
      <vt:lpstr>Arial Narrow</vt:lpstr>
      <vt:lpstr>Calibri</vt:lpstr>
      <vt:lpstr>Cambria Math</vt:lpstr>
      <vt:lpstr>Wingdings</vt:lpstr>
      <vt:lpstr>BNPP_LS_FR</vt:lpstr>
      <vt:lpstr>think-cell Slide</vt:lpstr>
      <vt:lpstr>Projet n°7</vt:lpstr>
      <vt:lpstr>Agenda</vt:lpstr>
      <vt:lpstr>Problématique et jeu de données</vt:lpstr>
      <vt:lpstr>Problématique</vt:lpstr>
      <vt:lpstr>Présentation du jeu de données</vt:lpstr>
      <vt:lpstr>Explication de l’approche de modélisation</vt:lpstr>
      <vt:lpstr>Vision globale</vt:lpstr>
      <vt:lpstr>Equilibrer les classes</vt:lpstr>
      <vt:lpstr>Définir une fonction de coût</vt:lpstr>
      <vt:lpstr>Comparer les différents modèles de classification avec le jeu « LGBM »</vt:lpstr>
      <vt:lpstr>Visualiser le seuil de probabilité de défaut retenu avec le jeu « LGBM »</vt:lpstr>
      <vt:lpstr>Evaluer le coût avec le jeu « LGBM »</vt:lpstr>
      <vt:lpstr>Importance globale des variables avec le jeu « LGBM »</vt:lpstr>
      <vt:lpstr>Présentation du tableau de bord</vt:lpstr>
      <vt:lpstr>Conclusion</vt:lpstr>
      <vt:lpstr>Annexes  </vt:lpstr>
      <vt:lpstr>Rechercher des kernels sous Kaggle</vt:lpstr>
      <vt:lpstr>Améliorer les kernels</vt:lpstr>
      <vt:lpstr>Réduire les dimensions</vt:lpstr>
      <vt:lpstr>L’algorithme d’optimisation</vt:lpstr>
      <vt:lpstr>Comparer les résultats pour chaque jeu</vt:lpstr>
      <vt:lpstr>Evaluer le sur-apprentissage avec le jeu « LGBM »</vt:lpstr>
      <vt:lpstr>Evaluer la généralisation avec le jeu « LGBM »</vt:lpstr>
      <vt:lpstr>Navigation / Décision et Jauge de probabilité de défaut</vt:lpstr>
      <vt:lpstr>Explication synthétique de la décision</vt:lpstr>
      <vt:lpstr>Explications détaillées de la décision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PPLS_COM_CORP_TEMPLATES_EN</dc:title>
  <dc:creator>920160</dc:creator>
  <cp:lastModifiedBy>Laurence Mades</cp:lastModifiedBy>
  <cp:revision>2208</cp:revision>
  <cp:lastPrinted>2015-02-25T12:09:14Z</cp:lastPrinted>
  <dcterms:created xsi:type="dcterms:W3CDTF">2015-05-21T13:39:27Z</dcterms:created>
  <dcterms:modified xsi:type="dcterms:W3CDTF">2022-02-17T08:3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0F607CC83484B928954E5E3969E2A0018657DCD744D964BB2F81E3BCEE62253</vt:lpwstr>
  </property>
  <property fmtid="{D5CDD505-2E9C-101B-9397-08002B2CF9AE}" pid="3" name="Country">
    <vt:lpwstr>6;#Corporate|5d009184-e54d-4e2b-b508-a2acabcee604</vt:lpwstr>
  </property>
  <property fmtid="{D5CDD505-2E9C-101B-9397-08002B2CF9AE}" pid="4" name="Function">
    <vt:lpwstr>4;#Communication|5b9a780f-1f60-4e32-a698-7a315b018f0e</vt:lpwstr>
  </property>
  <property fmtid="{D5CDD505-2E9C-101B-9397-08002B2CF9AE}" pid="5" name="MSIP_Label_812e1ed0-4700-41e0-aec3-61ed249f3333_Enabled">
    <vt:lpwstr>true</vt:lpwstr>
  </property>
  <property fmtid="{D5CDD505-2E9C-101B-9397-08002B2CF9AE}" pid="6" name="MSIP_Label_812e1ed0-4700-41e0-aec3-61ed249f3333_SetDate">
    <vt:lpwstr>2021-09-12T14:49:54Z</vt:lpwstr>
  </property>
  <property fmtid="{D5CDD505-2E9C-101B-9397-08002B2CF9AE}" pid="7" name="MSIP_Label_812e1ed0-4700-41e0-aec3-61ed249f3333_Method">
    <vt:lpwstr>Standard</vt:lpwstr>
  </property>
  <property fmtid="{D5CDD505-2E9C-101B-9397-08002B2CF9AE}" pid="8" name="MSIP_Label_812e1ed0-4700-41e0-aec3-61ed249f3333_Name">
    <vt:lpwstr>Internal - Standard</vt:lpwstr>
  </property>
  <property fmtid="{D5CDD505-2E9C-101B-9397-08002B2CF9AE}" pid="9" name="MSIP_Label_812e1ed0-4700-41e0-aec3-61ed249f3333_SiteId">
    <vt:lpwstr>614f9c25-bffa-42c7-86d8-964101f55fa2</vt:lpwstr>
  </property>
  <property fmtid="{D5CDD505-2E9C-101B-9397-08002B2CF9AE}" pid="10" name="MSIP_Label_812e1ed0-4700-41e0-aec3-61ed249f3333_ActionId">
    <vt:lpwstr>fc3c6de9-bdf9-4864-8935-d5b336cea0ee</vt:lpwstr>
  </property>
  <property fmtid="{D5CDD505-2E9C-101B-9397-08002B2CF9AE}" pid="11" name="MSIP_Label_812e1ed0-4700-41e0-aec3-61ed249f3333_ContentBits">
    <vt:lpwstr>2</vt:lpwstr>
  </property>
</Properties>
</file>